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customXml/itemProps1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customXml/itemProps33.xml" ContentType="application/vnd.openxmlformats-officedocument.customXmlProperties+xml"/>
  <Override PartName="/customXml/itemProps34.xml" ContentType="application/vnd.openxmlformats-officedocument.customXmlProperties+xml"/>
  <Override PartName="/customXml/itemProps35.xml" ContentType="application/vnd.openxmlformats-officedocument.customXmlProperties+xml"/>
  <Override PartName="/customXml/itemProps36.xml" ContentType="application/vnd.openxmlformats-officedocument.customXmlProperties+xml"/>
  <Override PartName="/customXml/itemProps37.xml" ContentType="application/vnd.openxmlformats-officedocument.customXmlProperties+xml"/>
  <Override PartName="/customXml/itemProps38.xml" ContentType="application/vnd.openxmlformats-officedocument.customXmlProperties+xml"/>
  <Override PartName="/customXml/itemProps39.xml" ContentType="application/vnd.openxmlformats-officedocument.customXmlProperties+xml"/>
  <Override PartName="/customXml/itemProps4.xml" ContentType="application/vnd.openxmlformats-officedocument.customXmlProperties+xml"/>
  <Override PartName="/customXml/itemProps40.xml" ContentType="application/vnd.openxmlformats-officedocument.customXmlProperties+xml"/>
  <Override PartName="/customXml/itemProps41.xml" ContentType="application/vnd.openxmlformats-officedocument.customXmlProperties+xml"/>
  <Override PartName="/customXml/itemProps42.xml" ContentType="application/vnd.openxmlformats-officedocument.customXmlProperties+xml"/>
  <Override PartName="/customXml/itemProps43.xml" ContentType="application/vnd.openxmlformats-officedocument.customXmlProperties+xml"/>
  <Override PartName="/customXml/itemProps44.xml" ContentType="application/vnd.openxmlformats-officedocument.customXmlProperties+xml"/>
  <Override PartName="/customXml/itemProps45.xml" ContentType="application/vnd.openxmlformats-officedocument.customXmlProperties+xml"/>
  <Override PartName="/customXml/itemProps46.xml" ContentType="application/vnd.openxmlformats-officedocument.customXmlProperties+xml"/>
  <Override PartName="/customXml/itemProps47.xml" ContentType="application/vnd.openxmlformats-officedocument.customXmlProperties+xml"/>
  <Override PartName="/customXml/itemProps48.xml" ContentType="application/vnd.openxmlformats-officedocument.customXmlProperties+xml"/>
  <Override PartName="/customXml/itemProps49.xml" ContentType="application/vnd.openxmlformats-officedocument.customXmlProperties+xml"/>
  <Override PartName="/customXml/itemProps5.xml" ContentType="application/vnd.openxmlformats-officedocument.customXmlProperties+xml"/>
  <Override PartName="/customXml/itemProps50.xml" ContentType="application/vnd.openxmlformats-officedocument.customXmlProperties+xml"/>
  <Override PartName="/customXml/itemProps51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docMetadata/LabelInfo.xml" ContentType="application/vnd.ms-office.classificationlabel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authors.xml" ContentType="application/vnd.ms-powerpoint.authors+xml"/>
  <Override PartName="/ppt/changesInfos/changesInfo1.xml" ContentType="application/vnd.ms-powerpoint.changesinfo+xml"/>
  <Override PartName="/ppt/charts/chart1.xml" ContentType="application/vnd.openxmlformats-officedocument.drawingml.chart+xml"/>
  <Override PartName="/ppt/charts/colors1.xml" ContentType="application/vnd.ms-office.chartcolorstyle+xml"/>
  <Override PartName="/ppt/charts/style1.xml" ContentType="application/vnd.ms-office.chartstyle+xml"/>
  <Override PartName="/ppt/embeddings/oleObject1.bin" ContentType="application/vnd.openxmlformats-officedocument.oleObject"/>
  <Override PartName="/ppt/embeddings/oleObject10.bin" ContentType="application/vnd.openxmlformats-officedocument.oleObject"/>
  <Override PartName="/ppt/embeddings/oleObject2.bin" ContentType="application/vnd.openxmlformats-officedocument.oleObject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embeddings/oleObject5.bin" ContentType="application/vnd.openxmlformats-officedocument.oleObject"/>
  <Override PartName="/ppt/embeddings/oleObject6.bin" ContentType="application/vnd.openxmlformats-officedocument.oleObject"/>
  <Override PartName="/ppt/embeddings/oleObject7.bin" ContentType="application/vnd.openxmlformats-officedocument.oleObject"/>
  <Override PartName="/ppt/embeddings/oleObject8.bin" ContentType="application/vnd.openxmlformats-officedocument.oleObject"/>
  <Override PartName="/ppt/embeddings/oleObject9.bin" ContentType="application/vnd.openxmlformats-officedocument.oleObject"/>
  <Override PartName="/ppt/handoutMasters/handoutMaster1.xml" ContentType="application/vnd.openxmlformats-officedocument.presentationml.handoutMaster+xml"/>
  <Override PartName="/ppt/media/image8.svg" ContentType="image/svg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revisionInfo.xml" ContentType="application/vnd.ms-powerpoint.revisioninfo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viewProps.xml" ContentType="application/vnd.openxmlformats-officedocument.presentationml.viewProps+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</Types>
</file>

<file path=_rels/.rels><?xml version='1.0' encoding='UTF-8' standalone='yes'?>
<Relationships xmlns="http://schemas.openxmlformats.org/package/2006/relationships"><Relationship Id="rId1" Type="http://schemas.microsoft.com/office/2011/relationships/webextensiontaskpanes" Target="ppt/webextensions/taskpanes.xml"/><Relationship Id="rId2" Type="http://schemas.openxmlformats.org/officeDocument/2006/relationships/officeDocument" Target="ppt/presentation.xml"/><Relationship Id="rId3" Type="http://schemas.openxmlformats.org/package/2006/relationships/metadata/thumbnail" Target="docProps/thumbnail.jpeg"/><Relationship Id="rId4" Type="http://schemas.openxmlformats.org/package/2006/relationships/metadata/core-properties" Target="docProps/core.xml"/><Relationship Id="rId5" Type="http://schemas.openxmlformats.org/officeDocument/2006/relationships/extended-properties" Target="docProps/app.xml"/><Relationship Id="rId6" Type="http://schemas.openxmlformats.org/officeDocument/2006/relationships/custom-properties" Target="docProps/custom.xml"/><Relationship Id="rId7" Type="http://schemas.microsoft.com/office/2020/02/relationships/classificationlabels" Target="docMetadata/LabelInfo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733" r:id="rId52"/>
    <p:sldMasterId id="2147483798" r:id="rId53"/>
    <p:sldMasterId id="2147483818" r:id="rId54"/>
    <p:sldMasterId id="2147483842" r:id="rId55"/>
  </p:sldMasterIdLst>
  <p:notesMasterIdLst>
    <p:notesMasterId r:id="rId65"/>
  </p:notesMasterIdLst>
  <p:handoutMasterIdLst>
    <p:handoutMasterId r:id="rId66"/>
  </p:handoutMasterIdLst>
  <p:sldIdLst>
    <p:sldId id="258" r:id="rId56"/>
    <p:sldId id="265" r:id="rId57"/>
    <p:sldId id="2147483513" r:id="rId58"/>
    <p:sldId id="288" r:id="rId59"/>
    <p:sldId id="289" r:id="rId60"/>
    <p:sldId id="2147483512" r:id="rId61"/>
    <p:sldId id="301" r:id="rId62"/>
    <p:sldId id="2147483514" r:id="rId63"/>
    <p:sldId id="2147483511" r:id="rId64"/>
  </p:sldIdLst>
  <p:sldSz cx="12195175" cy="6858000"/>
  <p:notesSz cx="6858000" cy="9144000"/>
  <p:embeddedFontLst>
    <p:embeddedFont>
      <p:font typeface="72" panose="020B0604020202020204" pitchFamily="34" charset="0"/>
      <p:regular r:id="rId67"/>
      <p:bold r:id="rId68"/>
      <p:italic r:id="rId69"/>
      <p:boldItalic r:id="rId70"/>
    </p:embeddedFont>
    <p:embeddedFont>
      <p:font typeface="72 Brand" panose="020B0504030603020204" pitchFamily="34" charset="0"/>
      <p:regular r:id="rId71"/>
      <p:bold r:id="rId72"/>
      <p:italic r:id="rId73"/>
      <p:boldItalic r:id="rId74"/>
    </p:embeddedFont>
    <p:embeddedFont>
      <p:font typeface="72 Brand Medium" panose="020B0604030603020204" pitchFamily="34" charset="0"/>
      <p:regular r:id="rId75"/>
      <p:bold r:id="rId76"/>
      <p:italic r:id="rId77"/>
      <p:boldItalic r:id="rId78"/>
    </p:embeddedFont>
    <p:embeddedFont>
      <p:font typeface="Arial Unicode MS" panose="020B0604020202020204" pitchFamily="34" charset="-128"/>
      <p:regular r:id="rId79"/>
      <p:bold r:id="rId80"/>
    </p:embeddedFont>
    <p:embeddedFont>
      <p:font typeface="Consolas" panose="020B0609020204030204" pitchFamily="49" charset="0"/>
      <p:regular r:id="rId81"/>
      <p:bold r:id="rId82"/>
      <p:italic r:id="rId83"/>
      <p:boldItalic r:id="rId84"/>
    </p:embeddedFont>
    <p:embeddedFont>
      <p:font typeface="Graphik Light" panose="020F0502020204030204" pitchFamily="34" charset="0"/>
      <p:regular r:id="rId85"/>
      <p:bold r:id="rId86"/>
      <p:italic r:id="rId87"/>
      <p:boldItalic r:id="rId88"/>
    </p:embeddedFont>
    <p:embeddedFont>
      <p:font typeface="Roboto" panose="02000000000000000000" pitchFamily="2" charset="0"/>
      <p:regular r:id="rId89"/>
      <p:bold r:id="rId90"/>
      <p:italic r:id="rId91"/>
      <p:boldItalic r:id="rId92"/>
    </p:embeddedFont>
    <p:embeddedFont>
      <p:font typeface="Segoe UI" panose="020B0502040204020203" pitchFamily="34" charset="0"/>
      <p:regular r:id="rId93"/>
      <p:bold r:id="rId94"/>
      <p:italic r:id="rId95"/>
      <p:boldItalic r:id="rId96"/>
    </p:embeddedFont>
  </p:embeddedFontLst>
  <p:custDataLst>
    <p:tags r:id="rId97"/>
  </p:custDataLst>
  <p:defaultTextStyle>
    <a:defPPr>
      <a:defRPr lang="de-DE"/>
    </a:defPPr>
    <a:lvl1pPr marL="0" algn="l" defTabSz="1088776" rtl="0" eaLnBrk="1" latinLnBrk="0" hangingPunct="1">
      <a:defRPr lang="de-DE" sz="2100" kern="1200">
        <a:solidFill>
          <a:schemeClr val="tx1"/>
        </a:solidFill>
        <a:latin typeface="Arial"/>
        <a:ea typeface="+mn-ea"/>
        <a:cs typeface="+mn-cs"/>
      </a:defRPr>
    </a:lvl1pPr>
    <a:lvl2pPr marL="544388" algn="l" defTabSz="1088776" rtl="0" eaLnBrk="1" latinLnBrk="0" hangingPunct="1">
      <a:buClr>
        <a:srgbClr val="FDB913"/>
      </a:buClr>
      <a:buSzPct val="100000"/>
      <a:buFont typeface="wingdings"/>
      <a:buChar char=""/>
      <a:defRPr lang="de-DE" sz="2100" kern="1200">
        <a:solidFill>
          <a:schemeClr val="tx1"/>
        </a:solidFill>
        <a:latin typeface="Arial"/>
        <a:ea typeface="+mn-ea"/>
        <a:cs typeface="+mn-cs"/>
      </a:defRPr>
    </a:lvl2pPr>
    <a:lvl3pPr marL="1088776" algn="l" defTabSz="1088776" rtl="0" eaLnBrk="1" latinLnBrk="0" hangingPunct="1">
      <a:buClr>
        <a:srgbClr val="666666"/>
      </a:buClr>
      <a:buSzPct val="80000"/>
      <a:buFont typeface="Wingdings"/>
      <a:buChar char="n"/>
      <a:defRPr lang="de-DE" sz="1700" kern="1200">
        <a:solidFill>
          <a:schemeClr val="tx1"/>
        </a:solidFill>
        <a:latin typeface="Arial"/>
        <a:ea typeface="+mn-ea"/>
        <a:cs typeface="+mn-cs"/>
      </a:defRPr>
    </a:lvl3pPr>
    <a:lvl4pPr marL="1633164" algn="l" defTabSz="1088776" rtl="0" eaLnBrk="1" latinLnBrk="0" hangingPunct="1">
      <a:buClr>
        <a:srgbClr val="666666"/>
      </a:buClr>
      <a:buSzPct val="80000"/>
      <a:buFont typeface="Arial"/>
      <a:buChar char=""/>
      <a:defRPr lang="de-DE" sz="1400" kern="1200">
        <a:solidFill>
          <a:schemeClr val="tx1"/>
        </a:solidFill>
        <a:latin typeface="Arial"/>
        <a:ea typeface="+mn-ea"/>
        <a:cs typeface="+mn-cs"/>
      </a:defRPr>
    </a:lvl4pPr>
    <a:lvl5pPr marL="2177552" algn="l" defTabSz="1088776" rtl="0" eaLnBrk="1" latinLnBrk="0" hangingPunct="1">
      <a:buClr>
        <a:srgbClr val="666666"/>
      </a:buClr>
      <a:buSzPct val="80000"/>
      <a:buFont typeface="Arial"/>
      <a:buChar char=""/>
      <a:defRPr lang="de-DE" sz="1200" kern="1200">
        <a:solidFill>
          <a:schemeClr val="tx1"/>
        </a:solidFill>
        <a:latin typeface="Arial"/>
        <a:ea typeface="+mn-ea"/>
        <a:cs typeface="+mn-cs"/>
      </a:defRPr>
    </a:lvl5pPr>
    <a:lvl6pPr marL="2721940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3F345AA-434C-4AE3-8047-A5FD22E5BA38}">
          <p14:sldIdLst>
            <p14:sldId id="258"/>
            <p14:sldId id="265"/>
            <p14:sldId id="2147483513"/>
            <p14:sldId id="288"/>
            <p14:sldId id="289"/>
            <p14:sldId id="2147483512"/>
            <p14:sldId id="301"/>
            <p14:sldId id="2147483514"/>
            <p14:sldId id="2147483511"/>
          </p14:sldIdLst>
        </p14:section>
      </p14:sectionLst>
    </p:ext>
    <p:ext uri="{EFAFB233-063F-42B5-8137-9DF3F51BA10A}">
      <p15:sldGuideLst xmlns:p15="http://schemas.microsoft.com/office/powerpoint/2012/main">
        <p15:guide id="1" pos="3841" userDrawn="1">
          <p15:clr>
            <a:srgbClr val="A4A3A4"/>
          </p15:clr>
        </p15:guide>
        <p15:guide id="2" orient="horz" pos="235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  <p188:author id="{1D1AFF31-7A2F-128D-BB47-3B1D50ABF410}" name="Sitzenstuhl, Julia" initials="JS" userId="S::julia.sitzenstuhl@accenture.com::0ecde564-4e43-4376-b71c-fef783b14573" providerId="AD"/>
  <p188:author id="{5129F76E-7BDB-74C5-467E-3477AD327EEC}" name="Tristan Reeve" initials="TR" userId="Tristan Reeve" providerId="None"/>
  <p188:author id="{AE91D871-059B-A3C9-649E-875E3021D821}" name="Singh, Nitin" initials="" userId="S::nitin.singh03@sap.com::0349d0f7-6846-400e-bf8b-4d688b33f556" providerId="AD"/>
  <p188:author id="{F75ED88A-D47F-6662-7E9F-83F362C31C7E}" name="Stemmer, Kaya (external - Service)" initials="KS" userId="S::kaya.stemmer@sap.com::42d2abaa-3f73-4c7f-9aed-99212a3b2447" providerId="AD"/>
  <p188:author id="{63FB9B93-95B2-1559-FD61-A17AECA3AC20}" name="Dröge, Anne" initials="AD" userId="S::anne.droege@accenture.com::10d2f445-2dce-4ab5-938d-f3130b03f78f" providerId="AD"/>
  <p188:author id="{1847869B-63D9-03E2-EB9D-4C67847F1236}" name="Dröge, Anne" initials="DA" userId="S::anne.droege_accenture.com#ext#@sap.onmicrosoft.com::98071eed-5974-4a76-bb70-2f4eeda0f006" providerId="AD"/>
  <p188:author id="{CFAF52E9-D22A-3098-E097-21FB102B2FB9}" name="Rudolf, Andreas (external - Service)" initials="RS" userId="S::andreas.rudolf@sap.com::7280057f-938f-4110-99cf-aba5feaa227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C933"/>
    <a:srgbClr val="D1F5C9"/>
    <a:srgbClr val="36A41D"/>
    <a:srgbClr val="D1EFFF"/>
    <a:srgbClr val="C35515"/>
    <a:srgbClr val="F3FBFF"/>
    <a:srgbClr val="2D5F7F"/>
    <a:srgbClr val="33692E"/>
    <a:srgbClr val="89D1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3F2E98E-9D9D-0C68-DCC6-CADA5B18470D}" v="283" dt="2025-12-12T09:22:49.869"/>
    <p1510:client id="{C58890AD-8BD4-2066-FC94-90F61A4F6B87}" v="1" dt="2025-12-12T09:23:43.816"/>
  </p1510:revLst>
</p1510:revInfo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4107"/>
    <p:restoredTop sz="86438"/>
  </p:normalViewPr>
  <p:slideViewPr>
    <p:cSldViewPr snapToGrid="0">
      <p:cViewPr varScale="1">
        <p:scale>
          <a:sx n="109" d="100"/>
          <a:sy n="109" d="100"/>
        </p:scale>
        <p:origin x="680" y="184"/>
      </p:cViewPr>
      <p:guideLst>
        <p:guide pos="3841"/>
        <p:guide orient="horz" pos="235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5760" y="215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customXml" Target="../customXml/item4.xml"/><Relationship Id="rId5" Type="http://schemas.openxmlformats.org/officeDocument/2006/relationships/customXml" Target="../customXml/item5.xml"/><Relationship Id="rId6" Type="http://schemas.openxmlformats.org/officeDocument/2006/relationships/customXml" Target="../customXml/item6.xml"/><Relationship Id="rId7" Type="http://schemas.openxmlformats.org/officeDocument/2006/relationships/customXml" Target="../customXml/item7.xml"/><Relationship Id="rId8" Type="http://schemas.openxmlformats.org/officeDocument/2006/relationships/customXml" Target="../customXml/item8.xml"/><Relationship Id="rId9" Type="http://schemas.openxmlformats.org/officeDocument/2006/relationships/customXml" Target="../customXml/item9.xml"/><Relationship Id="rId10" Type="http://schemas.openxmlformats.org/officeDocument/2006/relationships/customXml" Target="../customXml/item10.xml"/><Relationship Id="rId11" Type="http://schemas.openxmlformats.org/officeDocument/2006/relationships/customXml" Target="../customXml/item11.xml"/><Relationship Id="rId12" Type="http://schemas.openxmlformats.org/officeDocument/2006/relationships/customXml" Target="../customXml/item12.xml"/><Relationship Id="rId13" Type="http://schemas.openxmlformats.org/officeDocument/2006/relationships/customXml" Target="../customXml/item13.xml"/><Relationship Id="rId14" Type="http://schemas.openxmlformats.org/officeDocument/2006/relationships/customXml" Target="../customXml/item14.xml"/><Relationship Id="rId15" Type="http://schemas.openxmlformats.org/officeDocument/2006/relationships/customXml" Target="../customXml/item15.xml"/><Relationship Id="rId16" Type="http://schemas.openxmlformats.org/officeDocument/2006/relationships/customXml" Target="../customXml/item16.xml"/><Relationship Id="rId17" Type="http://schemas.openxmlformats.org/officeDocument/2006/relationships/customXml" Target="../customXml/item17.xml"/><Relationship Id="rId18" Type="http://schemas.openxmlformats.org/officeDocument/2006/relationships/customXml" Target="../customXml/item18.xml"/><Relationship Id="rId19" Type="http://schemas.openxmlformats.org/officeDocument/2006/relationships/customXml" Target="../customXml/item19.xml"/><Relationship Id="rId20" Type="http://schemas.openxmlformats.org/officeDocument/2006/relationships/customXml" Target="../customXml/item20.xml"/><Relationship Id="rId21" Type="http://schemas.openxmlformats.org/officeDocument/2006/relationships/customXml" Target="../customXml/item21.xml"/><Relationship Id="rId22" Type="http://schemas.openxmlformats.org/officeDocument/2006/relationships/customXml" Target="../customXml/item22.xml"/><Relationship Id="rId23" Type="http://schemas.openxmlformats.org/officeDocument/2006/relationships/customXml" Target="../customXml/item23.xml"/><Relationship Id="rId24" Type="http://schemas.openxmlformats.org/officeDocument/2006/relationships/customXml" Target="../customXml/item24.xml"/><Relationship Id="rId25" Type="http://schemas.openxmlformats.org/officeDocument/2006/relationships/customXml" Target="../customXml/item25.xml"/><Relationship Id="rId26" Type="http://schemas.openxmlformats.org/officeDocument/2006/relationships/customXml" Target="../customXml/item26.xml"/><Relationship Id="rId27" Type="http://schemas.openxmlformats.org/officeDocument/2006/relationships/customXml" Target="../customXml/item27.xml"/><Relationship Id="rId28" Type="http://schemas.openxmlformats.org/officeDocument/2006/relationships/customXml" Target="../customXml/item28.xml"/><Relationship Id="rId29" Type="http://schemas.openxmlformats.org/officeDocument/2006/relationships/customXml" Target="../customXml/item29.xml"/><Relationship Id="rId30" Type="http://schemas.openxmlformats.org/officeDocument/2006/relationships/customXml" Target="../customXml/item30.xml"/><Relationship Id="rId31" Type="http://schemas.openxmlformats.org/officeDocument/2006/relationships/customXml" Target="../customXml/item31.xml"/><Relationship Id="rId32" Type="http://schemas.openxmlformats.org/officeDocument/2006/relationships/customXml" Target="../customXml/item32.xml"/><Relationship Id="rId33" Type="http://schemas.openxmlformats.org/officeDocument/2006/relationships/customXml" Target="../customXml/item33.xml"/><Relationship Id="rId34" Type="http://schemas.openxmlformats.org/officeDocument/2006/relationships/customXml" Target="../customXml/item34.xml"/><Relationship Id="rId35" Type="http://schemas.openxmlformats.org/officeDocument/2006/relationships/customXml" Target="../customXml/item35.xml"/><Relationship Id="rId36" Type="http://schemas.openxmlformats.org/officeDocument/2006/relationships/customXml" Target="../customXml/item36.xml"/><Relationship Id="rId37" Type="http://schemas.openxmlformats.org/officeDocument/2006/relationships/customXml" Target="../customXml/item37.xml"/><Relationship Id="rId38" Type="http://schemas.openxmlformats.org/officeDocument/2006/relationships/customXml" Target="../customXml/item38.xml"/><Relationship Id="rId39" Type="http://schemas.openxmlformats.org/officeDocument/2006/relationships/customXml" Target="../customXml/item39.xml"/><Relationship Id="rId40" Type="http://schemas.openxmlformats.org/officeDocument/2006/relationships/customXml" Target="../customXml/item40.xml"/><Relationship Id="rId41" Type="http://schemas.openxmlformats.org/officeDocument/2006/relationships/customXml" Target="../customXml/item41.xml"/><Relationship Id="rId42" Type="http://schemas.openxmlformats.org/officeDocument/2006/relationships/customXml" Target="../customXml/item42.xml"/><Relationship Id="rId43" Type="http://schemas.openxmlformats.org/officeDocument/2006/relationships/customXml" Target="../customXml/item43.xml"/><Relationship Id="rId44" Type="http://schemas.openxmlformats.org/officeDocument/2006/relationships/customXml" Target="../customXml/item44.xml"/><Relationship Id="rId45" Type="http://schemas.openxmlformats.org/officeDocument/2006/relationships/customXml" Target="../customXml/item45.xml"/><Relationship Id="rId46" Type="http://schemas.openxmlformats.org/officeDocument/2006/relationships/customXml" Target="../customXml/item46.xml"/><Relationship Id="rId47" Type="http://schemas.openxmlformats.org/officeDocument/2006/relationships/customXml" Target="../customXml/item47.xml"/><Relationship Id="rId48" Type="http://schemas.openxmlformats.org/officeDocument/2006/relationships/customXml" Target="../customXml/item48.xml"/><Relationship Id="rId49" Type="http://schemas.openxmlformats.org/officeDocument/2006/relationships/customXml" Target="../customXml/item49.xml"/><Relationship Id="rId50" Type="http://schemas.openxmlformats.org/officeDocument/2006/relationships/customXml" Target="../customXml/item50.xml"/><Relationship Id="rId51" Type="http://schemas.openxmlformats.org/officeDocument/2006/relationships/customXml" Target="../customXml/item51.xml"/><Relationship Id="rId52" Type="http://schemas.openxmlformats.org/officeDocument/2006/relationships/slideMaster" Target="slideMasters/slideMaster1.xml"/><Relationship Id="rId53" Type="http://schemas.openxmlformats.org/officeDocument/2006/relationships/slideMaster" Target="slideMasters/slideMaster2.xml"/><Relationship Id="rId54" Type="http://schemas.openxmlformats.org/officeDocument/2006/relationships/slideMaster" Target="slideMasters/slideMaster3.xml"/><Relationship Id="rId55" Type="http://schemas.openxmlformats.org/officeDocument/2006/relationships/slideMaster" Target="slideMasters/slideMaster4.xml"/><Relationship Id="rId56" Type="http://schemas.openxmlformats.org/officeDocument/2006/relationships/slide" Target="slides/slide1.xml"/><Relationship Id="rId57" Type="http://schemas.openxmlformats.org/officeDocument/2006/relationships/slide" Target="slides/slide2.xml"/><Relationship Id="rId58" Type="http://schemas.openxmlformats.org/officeDocument/2006/relationships/slide" Target="slides/slide3.xml"/><Relationship Id="rId59" Type="http://schemas.openxmlformats.org/officeDocument/2006/relationships/slide" Target="slides/slide4.xml"/><Relationship Id="rId60" Type="http://schemas.openxmlformats.org/officeDocument/2006/relationships/slide" Target="slides/slide5.xml"/><Relationship Id="rId61" Type="http://schemas.openxmlformats.org/officeDocument/2006/relationships/slide" Target="slides/slide6.xml"/><Relationship Id="rId62" Type="http://schemas.openxmlformats.org/officeDocument/2006/relationships/slide" Target="slides/slide7.xml"/><Relationship Id="rId63" Type="http://schemas.openxmlformats.org/officeDocument/2006/relationships/slide" Target="slides/slide8.xml"/><Relationship Id="rId64" Type="http://schemas.openxmlformats.org/officeDocument/2006/relationships/slide" Target="slides/slide9.xml"/><Relationship Id="rId65" Type="http://schemas.openxmlformats.org/officeDocument/2006/relationships/notesMaster" Target="notesMasters/notesMaster1.xml"/><Relationship Id="rId66" Type="http://schemas.openxmlformats.org/officeDocument/2006/relationships/handoutMaster" Target="handoutMasters/handoutMaster1.xml"/><Relationship Id="rId67" Type="http://schemas.openxmlformats.org/officeDocument/2006/relationships/font" Target="fonts/font1.fntdata"/><Relationship Id="rId68" Type="http://schemas.openxmlformats.org/officeDocument/2006/relationships/font" Target="fonts/font2.fntdata"/><Relationship Id="rId69" Type="http://schemas.openxmlformats.org/officeDocument/2006/relationships/font" Target="fonts/font3.fntdata"/><Relationship Id="rId70" Type="http://schemas.openxmlformats.org/officeDocument/2006/relationships/font" Target="fonts/font4.fntdata"/><Relationship Id="rId71" Type="http://schemas.openxmlformats.org/officeDocument/2006/relationships/font" Target="fonts/font5.fntdata"/><Relationship Id="rId72" Type="http://schemas.openxmlformats.org/officeDocument/2006/relationships/font" Target="fonts/font6.fntdata"/><Relationship Id="rId73" Type="http://schemas.openxmlformats.org/officeDocument/2006/relationships/font" Target="fonts/font7.fntdata"/><Relationship Id="rId74" Type="http://schemas.openxmlformats.org/officeDocument/2006/relationships/font" Target="fonts/font8.fntdata"/><Relationship Id="rId75" Type="http://schemas.openxmlformats.org/officeDocument/2006/relationships/font" Target="fonts/font9.fntdata"/><Relationship Id="rId76" Type="http://schemas.openxmlformats.org/officeDocument/2006/relationships/font" Target="fonts/font10.fntdata"/><Relationship Id="rId77" Type="http://schemas.openxmlformats.org/officeDocument/2006/relationships/font" Target="fonts/font11.fntdata"/><Relationship Id="rId78" Type="http://schemas.openxmlformats.org/officeDocument/2006/relationships/font" Target="fonts/font12.fntdata"/><Relationship Id="rId79" Type="http://schemas.openxmlformats.org/officeDocument/2006/relationships/font" Target="fonts/font13.fntdata"/><Relationship Id="rId80" Type="http://schemas.openxmlformats.org/officeDocument/2006/relationships/font" Target="fonts/font14.fntdata"/><Relationship Id="rId81" Type="http://schemas.openxmlformats.org/officeDocument/2006/relationships/font" Target="fonts/font15.fntdata"/><Relationship Id="rId82" Type="http://schemas.openxmlformats.org/officeDocument/2006/relationships/font" Target="fonts/font16.fntdata"/><Relationship Id="rId83" Type="http://schemas.openxmlformats.org/officeDocument/2006/relationships/font" Target="fonts/font17.fntdata"/><Relationship Id="rId84" Type="http://schemas.openxmlformats.org/officeDocument/2006/relationships/font" Target="fonts/font18.fntdata"/><Relationship Id="rId85" Type="http://schemas.openxmlformats.org/officeDocument/2006/relationships/font" Target="fonts/font19.fntdata"/><Relationship Id="rId86" Type="http://schemas.openxmlformats.org/officeDocument/2006/relationships/font" Target="fonts/font20.fntdata"/><Relationship Id="rId87" Type="http://schemas.openxmlformats.org/officeDocument/2006/relationships/font" Target="fonts/font21.fntdata"/><Relationship Id="rId88" Type="http://schemas.openxmlformats.org/officeDocument/2006/relationships/font" Target="fonts/font22.fntdata"/><Relationship Id="rId89" Type="http://schemas.openxmlformats.org/officeDocument/2006/relationships/font" Target="fonts/font23.fntdata"/><Relationship Id="rId90" Type="http://schemas.openxmlformats.org/officeDocument/2006/relationships/font" Target="fonts/font24.fntdata"/><Relationship Id="rId91" Type="http://schemas.openxmlformats.org/officeDocument/2006/relationships/font" Target="fonts/font25.fntdata"/><Relationship Id="rId92" Type="http://schemas.openxmlformats.org/officeDocument/2006/relationships/font" Target="fonts/font26.fntdata"/><Relationship Id="rId93" Type="http://schemas.openxmlformats.org/officeDocument/2006/relationships/font" Target="fonts/font27.fntdata"/><Relationship Id="rId94" Type="http://schemas.openxmlformats.org/officeDocument/2006/relationships/font" Target="fonts/font28.fntdata"/><Relationship Id="rId95" Type="http://schemas.openxmlformats.org/officeDocument/2006/relationships/font" Target="fonts/font29.fntdata"/><Relationship Id="rId96" Type="http://schemas.openxmlformats.org/officeDocument/2006/relationships/font" Target="fonts/font30.fntdata"/><Relationship Id="rId97" Type="http://schemas.openxmlformats.org/officeDocument/2006/relationships/tags" Target="tags/tag1.xml"/><Relationship Id="rId98" Type="http://schemas.openxmlformats.org/officeDocument/2006/relationships/presProps" Target="presProps.xml"/><Relationship Id="rId99" Type="http://schemas.openxmlformats.org/officeDocument/2006/relationships/viewProps" Target="viewProps.xml"/><Relationship Id="rId100" Type="http://schemas.openxmlformats.org/officeDocument/2006/relationships/theme" Target="theme/theme1.xml"/><Relationship Id="rId101" Type="http://schemas.openxmlformats.org/officeDocument/2006/relationships/tableStyles" Target="tableStyles.xml"/><Relationship Id="rId102" Type="http://schemas.microsoft.com/office/2016/11/relationships/changesInfo" Target="changesInfos/changesInfo1.xml"/><Relationship Id="rId103" Type="http://schemas.microsoft.com/office/2015/10/relationships/revisionInfo" Target="revisionInfo.xml"/><Relationship Id="rId104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chnepf, Patrick" userId="S::uas0041282@stud.fra-uas.de::4b9cf388-e12e-4e6b-aab3-22cbc2e97e61" providerId="AD" clId="Web-{73F2E98E-9D9D-0C68-DCC6-CADA5B18470D}"/>
    <pc:docChg chg="modSld">
      <pc:chgData name="Schnepf, Patrick" userId="S::uas0041282@stud.fra-uas.de::4b9cf388-e12e-4e6b-aab3-22cbc2e97e61" providerId="AD" clId="Web-{73F2E98E-9D9D-0C68-DCC6-CADA5B18470D}" dt="2025-12-12T09:22:45.839" v="155"/>
      <pc:docMkLst>
        <pc:docMk/>
      </pc:docMkLst>
      <pc:sldChg chg="modSp">
        <pc:chgData name="Schnepf, Patrick" userId="S::uas0041282@stud.fra-uas.de::4b9cf388-e12e-4e6b-aab3-22cbc2e97e61" providerId="AD" clId="Web-{73F2E98E-9D9D-0C68-DCC6-CADA5B18470D}" dt="2025-12-12T09:18:50.039" v="96"/>
        <pc:sldMkLst>
          <pc:docMk/>
          <pc:sldMk cId="79692663" sldId="267"/>
        </pc:sldMkLst>
        <pc:graphicFrameChg chg="mod modGraphic">
          <ac:chgData name="Schnepf, Patrick" userId="S::uas0041282@stud.fra-uas.de::4b9cf388-e12e-4e6b-aab3-22cbc2e97e61" providerId="AD" clId="Web-{73F2E98E-9D9D-0C68-DCC6-CADA5B18470D}" dt="2025-12-12T09:18:29.303" v="77"/>
          <ac:graphicFrameMkLst>
            <pc:docMk/>
            <pc:sldMk cId="79692663" sldId="267"/>
            <ac:graphicFrameMk id="11" creationId="{C21E78F7-CB56-DA3A-6FF1-0C1A882A28C8}"/>
          </ac:graphicFrameMkLst>
        </pc:graphicFrameChg>
        <pc:graphicFrameChg chg="mod modGraphic">
          <ac:chgData name="Schnepf, Patrick" userId="S::uas0041282@stud.fra-uas.de::4b9cf388-e12e-4e6b-aab3-22cbc2e97e61" providerId="AD" clId="Web-{73F2E98E-9D9D-0C68-DCC6-CADA5B18470D}" dt="2025-12-12T09:18:50.039" v="96"/>
          <ac:graphicFrameMkLst>
            <pc:docMk/>
            <pc:sldMk cId="79692663" sldId="267"/>
            <ac:graphicFrameMk id="15" creationId="{303EF505-49D3-B2EC-0731-684336D010A9}"/>
          </ac:graphicFrameMkLst>
        </pc:graphicFrameChg>
      </pc:sldChg>
      <pc:sldChg chg="addSp delSp modSp">
        <pc:chgData name="Schnepf, Patrick" userId="S::uas0041282@stud.fra-uas.de::4b9cf388-e12e-4e6b-aab3-22cbc2e97e61" providerId="AD" clId="Web-{73F2E98E-9D9D-0C68-DCC6-CADA5B18470D}" dt="2025-12-12T09:22:45.839" v="155"/>
        <pc:sldMkLst>
          <pc:docMk/>
          <pc:sldMk cId="1183526076" sldId="288"/>
        </pc:sldMkLst>
        <pc:spChg chg="add del">
          <ac:chgData name="Schnepf, Patrick" userId="S::uas0041282@stud.fra-uas.de::4b9cf388-e12e-4e6b-aab3-22cbc2e97e61" providerId="AD" clId="Web-{73F2E98E-9D9D-0C68-DCC6-CADA5B18470D}" dt="2025-12-12T09:22:12.274" v="139"/>
          <ac:spMkLst>
            <pc:docMk/>
            <pc:sldMk cId="1183526076" sldId="288"/>
            <ac:spMk id="7" creationId="{0F8FBE19-E2F8-09FB-819B-9E7400A8464C}"/>
          </ac:spMkLst>
        </pc:spChg>
        <pc:spChg chg="add del">
          <ac:chgData name="Schnepf, Patrick" userId="S::uas0041282@stud.fra-uas.de::4b9cf388-e12e-4e6b-aab3-22cbc2e97e61" providerId="AD" clId="Web-{73F2E98E-9D9D-0C68-DCC6-CADA5B18470D}" dt="2025-12-12T09:16:56.743" v="17"/>
          <ac:spMkLst>
            <pc:docMk/>
            <pc:sldMk cId="1183526076" sldId="288"/>
            <ac:spMk id="20" creationId="{434228BD-A578-7916-12F4-503F1EEAB3B4}"/>
          </ac:spMkLst>
        </pc:spChg>
        <pc:graphicFrameChg chg="mod modGraphic">
          <ac:chgData name="Schnepf, Patrick" userId="S::uas0041282@stud.fra-uas.de::4b9cf388-e12e-4e6b-aab3-22cbc2e97e61" providerId="AD" clId="Web-{73F2E98E-9D9D-0C68-DCC6-CADA5B18470D}" dt="2025-12-12T09:22:45.839" v="155"/>
          <ac:graphicFrameMkLst>
            <pc:docMk/>
            <pc:sldMk cId="1183526076" sldId="288"/>
            <ac:graphicFrameMk id="386" creationId="{6D2E4698-2E15-95BD-E158-3854D2D8A6C3}"/>
          </ac:graphicFrameMkLst>
        </pc:graphicFrameChg>
      </pc:sldChg>
    </pc:docChg>
  </pc:docChgLst>
  <pc:docChgLst>
    <pc:chgData name="Schnepf, Patrick" userId="S::uas0041282@stud.fra-uas.de::4b9cf388-e12e-4e6b-aab3-22cbc2e97e61" providerId="AD" clId="Web-{C58890AD-8BD4-2066-FC94-90F61A4F6B87}"/>
    <pc:docChg chg="modSld">
      <pc:chgData name="Schnepf, Patrick" userId="S::uas0041282@stud.fra-uas.de::4b9cf388-e12e-4e6b-aab3-22cbc2e97e61" providerId="AD" clId="Web-{C58890AD-8BD4-2066-FC94-90F61A4F6B87}" dt="2025-12-12T09:23:43.816" v="0"/>
      <pc:docMkLst>
        <pc:docMk/>
      </pc:docMkLst>
      <pc:sldChg chg="modSp">
        <pc:chgData name="Schnepf, Patrick" userId="S::uas0041282@stud.fra-uas.de::4b9cf388-e12e-4e6b-aab3-22cbc2e97e61" providerId="AD" clId="Web-{C58890AD-8BD4-2066-FC94-90F61A4F6B87}" dt="2025-12-12T09:23:43.816" v="0"/>
        <pc:sldMkLst>
          <pc:docMk/>
          <pc:sldMk cId="1183526076" sldId="288"/>
        </pc:sldMkLst>
        <pc:graphicFrameChg chg="modGraphic">
          <ac:chgData name="Schnepf, Patrick" userId="S::uas0041282@stud.fra-uas.de::4b9cf388-e12e-4e6b-aab3-22cbc2e97e61" providerId="AD" clId="Web-{C58890AD-8BD4-2066-FC94-90F61A4F6B87}" dt="2025-12-12T09:23:43.816" v="0"/>
          <ac:graphicFrameMkLst>
            <pc:docMk/>
            <pc:sldMk cId="1183526076" sldId="288"/>
            <ac:graphicFrameMk id="386" creationId="{6D2E4698-2E15-95BD-E158-3854D2D8A6C3}"/>
          </ac:graphicFrameMkLst>
        </pc:graphicFrameChg>
      </pc:sldChg>
    </pc:docChg>
  </pc:docChgLst>
  <pc:docChgLst>
    <pc:chgData name="El Azraq, Fatima-Zahra" userId="S::uas0009494@stud.fra-uas.de::e302decc-cfff-481d-a1d6-5c7ccee864a8" providerId="AD" clId="Web-{7DB97991-F68B-E778-7249-BC97DEF97B30}"/>
    <pc:docChg chg="modSld">
      <pc:chgData name="El Azraq, Fatima-Zahra" userId="S::uas0009494@stud.fra-uas.de::e302decc-cfff-481d-a1d6-5c7ccee864a8" providerId="AD" clId="Web-{7DB97991-F68B-E778-7249-BC97DEF97B30}" dt="2025-12-05T12:16:15.755" v="3" actId="1076"/>
      <pc:docMkLst>
        <pc:docMk/>
      </pc:docMkLst>
      <pc:sldChg chg="modSp">
        <pc:chgData name="El Azraq, Fatima-Zahra" userId="S::uas0009494@stud.fra-uas.de::e302decc-cfff-481d-a1d6-5c7ccee864a8" providerId="AD" clId="Web-{7DB97991-F68B-E778-7249-BC97DEF97B30}" dt="2025-12-05T12:16:15.755" v="3" actId="1076"/>
        <pc:sldMkLst>
          <pc:docMk/>
          <pc:sldMk cId="3390793184" sldId="2147483432"/>
        </pc:sldMkLst>
        <pc:spChg chg="mod">
          <ac:chgData name="El Azraq, Fatima-Zahra" userId="S::uas0009494@stud.fra-uas.de::e302decc-cfff-481d-a1d6-5c7ccee864a8" providerId="AD" clId="Web-{7DB97991-F68B-E778-7249-BC97DEF97B30}" dt="2025-12-05T12:16:14.786" v="2" actId="1076"/>
          <ac:spMkLst>
            <pc:docMk/>
            <pc:sldMk cId="3390793184" sldId="2147483432"/>
            <ac:spMk id="13" creationId="{F66307A8-CBF1-440C-B5F4-9274698CE55C}"/>
          </ac:spMkLst>
        </pc:spChg>
        <pc:spChg chg="mod">
          <ac:chgData name="El Azraq, Fatima-Zahra" userId="S::uas0009494@stud.fra-uas.de::e302decc-cfff-481d-a1d6-5c7ccee864a8" providerId="AD" clId="Web-{7DB97991-F68B-E778-7249-BC97DEF97B30}" dt="2025-12-05T12:16:15.755" v="3" actId="1076"/>
          <ac:spMkLst>
            <pc:docMk/>
            <pc:sldMk cId="3390793184" sldId="2147483432"/>
            <ac:spMk id="17" creationId="{7D112845-C5E9-4904-ACA1-E3CE47096904}"/>
          </ac:spMkLst>
        </pc:spChg>
      </pc:sldChg>
    </pc:docChg>
  </pc:docChgLst>
  <pc:docChgLst>
    <pc:chgData name="El Azraq, Fatima-Zahra" userId="S::uas0009494@stud.fra-uas.de::e302decc-cfff-481d-a1d6-5c7ccee864a8" providerId="AD" clId="Web-{0A87251A-C2ED-A651-FA47-E418E23C6621}"/>
    <pc:docChg chg="modSld">
      <pc:chgData name="El Azraq, Fatima-Zahra" userId="S::uas0009494@stud.fra-uas.de::e302decc-cfff-481d-a1d6-5c7ccee864a8" providerId="AD" clId="Web-{0A87251A-C2ED-A651-FA47-E418E23C6621}" dt="2025-12-08T09:55:25.956" v="0" actId="1076"/>
      <pc:docMkLst>
        <pc:docMk/>
      </pc:docMkLst>
      <pc:sldChg chg="modSp">
        <pc:chgData name="El Azraq, Fatima-Zahra" userId="S::uas0009494@stud.fra-uas.de::e302decc-cfff-481d-a1d6-5c7ccee864a8" providerId="AD" clId="Web-{0A87251A-C2ED-A651-FA47-E418E23C6621}" dt="2025-12-08T09:55:25.956" v="0" actId="1076"/>
        <pc:sldMkLst>
          <pc:docMk/>
          <pc:sldMk cId="2588132921" sldId="270"/>
        </pc:sldMkLst>
        <pc:spChg chg="mod">
          <ac:chgData name="El Azraq, Fatima-Zahra" userId="S::uas0009494@stud.fra-uas.de::e302decc-cfff-481d-a1d6-5c7ccee864a8" providerId="AD" clId="Web-{0A87251A-C2ED-A651-FA47-E418E23C6621}" dt="2025-12-08T09:55:25.956" v="0" actId="1076"/>
          <ac:spMkLst>
            <pc:docMk/>
            <pc:sldMk cId="2588132921" sldId="270"/>
            <ac:spMk id="5" creationId="{E498DA22-1638-53F4-B737-9A6C3F509565}"/>
          </ac:spMkLst>
        </pc:spChg>
      </pc:sldChg>
    </pc:docChg>
  </pc:docChgLst>
</pc:chgInfo>
</file>

<file path=ppt/charts/_rels/chart1.xml.rels><?xml version='1.0' encoding='UTF-8' standalone='yes'?>
<Relationships xmlns="http://schemas.openxmlformats.org/package/2006/relationships"><Relationship Id="rId1" Type="http://schemas.microsoft.com/office/2011/relationships/chartStyle" Target="style1.xml"/><Relationship Id="rId2" Type="http://schemas.microsoft.com/office/2011/relationships/chartColorStyle" Target="colors1.xml"/><Relationship Id="rId3" Type="http://schemas.openxmlformats.org/officeDocument/2006/relationships/package" Target="../embeddings/Microsoft_Excel-Arbeitsblat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explosion val="3"/>
          <c:dPt>
            <c:idx val="0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4A2-4FCA-89DC-573E27F12D38}"/>
              </c:ext>
            </c:extLst>
          </c:dPt>
          <c:dPt>
            <c:idx val="1"/>
            <c:bubble3D val="0"/>
            <c:spPr>
              <a:solidFill>
                <a:schemeClr val="bg1">
                  <a:lumMod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4A2-4FCA-89DC-573E27F12D38}"/>
              </c:ext>
            </c:extLst>
          </c:dPt>
          <c:dPt>
            <c:idx val="2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4A2-4FCA-89DC-573E27F12D38}"/>
              </c:ext>
            </c:extLst>
          </c:dPt>
          <c:dPt>
            <c:idx val="3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94A2-4FCA-89DC-573E27F12D38}"/>
              </c:ext>
            </c:extLst>
          </c:dPt>
          <c:dPt>
            <c:idx val="4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94A2-4FCA-89DC-573E27F12D38}"/>
              </c:ext>
            </c:extLst>
          </c:dPt>
          <c:cat>
            <c:numRef>
              <c:f>Sheet1!$A$2:$A$4</c:f>
              <c:numCache>
                <c:formatCode>General</c:formatCode>
                <c:ptCount val="3"/>
              </c:numCache>
            </c:numRef>
          </c:cat>
          <c:val>
            <c:numRef>
              <c:f>Sheet1!$B$2:$B$4</c:f>
              <c:numCache>
                <c:formatCode>General</c:formatCode>
                <c:ptCount val="3"/>
                <c:pt idx="0">
                  <c:v>5</c:v>
                </c:pt>
                <c:pt idx="1">
                  <c:v>13</c:v>
                </c:pt>
                <c:pt idx="2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4A2-4FCA-89DC-573E27F12D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194310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algn="ctr"/>
            <a:fld id="{47855BD9-AF71-426C-9B9B-B0E52B88852E}" type="slidenum">
              <a:rPr lang="de-DE" sz="1000" smtClean="0">
                <a:latin typeface="Arial" panose="020B0604020202020204" pitchFamily="34" charset="0"/>
              </a:rPr>
              <a:pPr algn="ctr"/>
              <a:t>‹Nr.›</a:t>
            </a:fld>
            <a:endParaRPr lang="de-DE" sz="100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99324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47688" y="612775"/>
            <a:ext cx="5762625" cy="3241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49000" y="4120162"/>
            <a:ext cx="5760000" cy="45635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2957512" y="8935722"/>
            <a:ext cx="942976" cy="20535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800" b="0" i="0">
                <a:latin typeface="Arial" panose="020B0604020202020204" pitchFamily="34" charset="0"/>
              </a:defRPr>
            </a:lvl1pPr>
          </a:lstStyle>
          <a:p>
            <a:fld id="{7D8C2C35-2B8A-446E-BEC0-FD36716C29AC}" type="slidenum">
              <a:rPr lang="en-DE" smtClean="0"/>
              <a:pPr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8473854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88776" rtl="0" eaLnBrk="1" latinLnBrk="0" hangingPunct="1">
      <a:defRPr sz="14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180000" indent="-180000" algn="l" defTabSz="1088776" rtl="0" eaLnBrk="1" latinLnBrk="0" hangingPunct="1">
      <a:buClr>
        <a:schemeClr val="accent1"/>
      </a:buClr>
      <a:buSzPct val="100000"/>
      <a:buFont typeface="Wingdings" pitchFamily="2" charset="2"/>
      <a:buChar char=""/>
      <a:defRPr sz="14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360000" indent="-180000" algn="l" defTabSz="1088776" rtl="0" eaLnBrk="1" latinLnBrk="0" hangingPunct="1">
      <a:buClr>
        <a:schemeClr val="accent2"/>
      </a:buClr>
      <a:buSzPct val="80000"/>
      <a:buFont typeface="Symbol" pitchFamily="18" charset="2"/>
      <a:buChar char="-"/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674815" indent="-158780" algn="l" defTabSz="1088776" rtl="0" eaLnBrk="1" latinLnBrk="0" hangingPunct="1">
      <a:buClr>
        <a:schemeClr val="accent2"/>
      </a:buClr>
      <a:buFont typeface="Arial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2177552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721940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914B8F-74B0-1803-142A-E8AC98DB87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1FB38DE-D18E-94A4-3363-A34D8A9F71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0238532-9F4C-779C-207E-AD4A5B5C775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BCEA5D-917C-D342-E805-A7F6FEC14C9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07803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C817CE-838A-74D3-3A64-ED64791169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AD61124-3C1A-740C-C441-6331A181AA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3A69C41-C86B-4964-E68C-B6E68730E8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EE4965-8B4A-3930-1389-6E88E032F14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82450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482B11-283E-6184-1F24-06E08D764C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EB2B7DC-419F-E3D1-680D-003510237C0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D805458-41F5-309F-07C3-9EFA8A0AB91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743047-6922-1CFE-67E0-467881C773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44373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C772A6-72F8-A176-0F64-7C16B697D3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06CC3D8-7CCF-5A20-8774-4B72F26F22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D8FDC2F-4360-1900-617D-78299E2E0DD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6534A4-4F8C-7D41-FC07-4F9A2DCFCED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09245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69DB19-CA61-19C7-39B8-9AF22F2F30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B78CBF4-1D24-761A-DD2E-303C33DC175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89A65F0-3A83-F7DD-48D5-35A520FC36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CB35D6-9B72-E21C-C615-C87EEE18C0D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09404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A2FFAD-34E7-1FB4-151A-9FA39B4F2F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E9987FF-D77C-D3D9-03D7-42082A35997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5F75116-18E7-99E0-3E09-A974CFD7AC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020E8D-A019-05C0-90D7-7547A5F0159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436875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DE" smtClean="0"/>
              <a:pPr/>
              <a:t>7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9269645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A3E7C9-29F1-9454-0126-167A65DB87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90F9A2A-45F5-06D5-85A9-9D480C14E58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A1A2D59-5294-0DEE-115D-D2F80C8200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53267A-69CE-0D19-6180-53F241E9291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DE" smtClean="0"/>
              <a:pPr/>
              <a:t>8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43487730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2953763"/>
      </p:ext>
    </p:extLst>
  </p:cSld>
  <p:clrMapOvr>
    <a:masterClrMapping/>
  </p:clrMapOvr>
</p:notes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tags" Target="../tags/tag126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2.bin"/><Relationship Id="rId4" Type="http://schemas.openxmlformats.org/officeDocument/2006/relationships/image" Target="../media/image1.emf"/><Relationship Id="rId5" Type="http://schemas.openxmlformats.org/officeDocument/2006/relationships/image" Target="../media/image3.png"/><Relationship Id="rId6" Type="http://schemas.openxmlformats.org/officeDocument/2006/relationships/image" Target="../media/image2.png"/></Relationships>
</file>

<file path=ppt/slideLayouts/_rels/slideLayout2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2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tags" Target="../tags/tag127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3.bin"/><Relationship Id="rId4" Type="http://schemas.openxmlformats.org/officeDocument/2006/relationships/image" Target="../media/image1.emf"/><Relationship Id="rId5" Type="http://schemas.openxmlformats.org/officeDocument/2006/relationships/image" Target="../media/image2.png"/></Relationships>
</file>

<file path=ppt/slideLayouts/_rels/slideLayout3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6.png"/><Relationship Id="rId3" Type="http://schemas.openxmlformats.org/officeDocument/2006/relationships/image" Target="../media/image7.png"/><Relationship Id="rId4" Type="http://schemas.openxmlformats.org/officeDocument/2006/relationships/image" Target="../media/image8.svg"/></Relationships>
</file>

<file path=ppt/slideLayouts/_rels/slideLayout3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7.png"/><Relationship Id="rId3" Type="http://schemas.openxmlformats.org/officeDocument/2006/relationships/image" Target="../media/image8.svg"/></Relationships>
</file>

<file path=ppt/slideLayouts/_rels/slideLayout3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4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9.png"/></Relationships>
</file>

<file path=ppt/slideLayouts/_rels/slideLayout4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9.png"/></Relationships>
</file>

<file path=ppt/slideLayouts/_rels/slideLayout4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7.png"/><Relationship Id="rId3" Type="http://schemas.openxmlformats.org/officeDocument/2006/relationships/image" Target="../media/image8.svg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5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6.png"/><Relationship Id="rId3" Type="http://schemas.openxmlformats.org/officeDocument/2006/relationships/image" Target="../media/image7.png"/><Relationship Id="rId4" Type="http://schemas.openxmlformats.org/officeDocument/2006/relationships/image" Target="../media/image8.svg"/></Relationships>
</file>

<file path=ppt/slideLayouts/_rels/slideLayout5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7.png"/><Relationship Id="rId3" Type="http://schemas.openxmlformats.org/officeDocument/2006/relationships/image" Target="../media/image8.svg"/></Relationships>
</file>

<file path=ppt/slideLayouts/_rels/slideLayout5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9.png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6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9.png"/></Relationships>
</file>

<file path=ppt/slideLayouts/_rels/slideLayout6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7.png"/><Relationship Id="rId3" Type="http://schemas.openxmlformats.org/officeDocument/2006/relationships/image" Target="../media/image8.svg"/></Relationships>
</file>

<file path=ppt/slideLayouts/_rels/slideLayout6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7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71.xml.rels><?xml version='1.0' encoding='UTF-8' standalone='yes'?>
<Relationships xmlns="http://schemas.openxmlformats.org/package/2006/relationships"><Relationship Id="rId1" Type="http://schemas.openxmlformats.org/officeDocument/2006/relationships/tags" Target="../tags/tag254.xml"/><Relationship Id="rId2" Type="http://schemas.openxmlformats.org/officeDocument/2006/relationships/slideMaster" Target="../slideMasters/slideMaster4.xml"/><Relationship Id="rId3" Type="http://schemas.openxmlformats.org/officeDocument/2006/relationships/oleObject" Target="../embeddings/oleObject2.bin"/><Relationship Id="rId4" Type="http://schemas.openxmlformats.org/officeDocument/2006/relationships/image" Target="../media/image1.emf"/><Relationship Id="rId5" Type="http://schemas.openxmlformats.org/officeDocument/2006/relationships/image" Target="../media/image3.png"/><Relationship Id="rId6" Type="http://schemas.openxmlformats.org/officeDocument/2006/relationships/image" Target="../media/image2.png"/></Relationships>
</file>

<file path=ppt/slideLayouts/_rels/slideLayout72.xml.rels><?xml version='1.0' encoding='UTF-8' standalone='yes'?>
<Relationships xmlns="http://schemas.openxmlformats.org/package/2006/relationships"><Relationship Id="rId1" Type="http://schemas.openxmlformats.org/officeDocument/2006/relationships/tags" Target="../tags/tag255.xml"/><Relationship Id="rId2" Type="http://schemas.openxmlformats.org/officeDocument/2006/relationships/slideMaster" Target="../slideMasters/slideMaster4.xml"/><Relationship Id="rId3" Type="http://schemas.openxmlformats.org/officeDocument/2006/relationships/oleObject" Target="../embeddings/oleObject3.bin"/><Relationship Id="rId4" Type="http://schemas.openxmlformats.org/officeDocument/2006/relationships/image" Target="../media/image1.emf"/><Relationship Id="rId5" Type="http://schemas.openxmlformats.org/officeDocument/2006/relationships/image" Target="../media/image2.png"/></Relationships>
</file>

<file path=ppt/slideLayouts/_rels/slideLayout7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7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7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7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7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7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4.png"/><Relationship Id="rId3" Type="http://schemas.openxmlformats.org/officeDocument/2006/relationships/image" Target="../media/image2.png"/></Relationships>
</file>

<file path=ppt/slideLayouts/_rels/slideLayout7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8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Relationship Id="rId3" Type="http://schemas.openxmlformats.org/officeDocument/2006/relationships/image" Target="../media/image2.png"/></Relationships>
</file>

<file path=ppt/slideLayouts/_rels/slideLayout9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9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blue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369E6551-269A-D225-4CF8-EC6D532E4902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441288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E73D104-EF7E-A0AB-2243-882D65E686E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75363" y="0"/>
            <a:ext cx="6119812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1271884541" name="LogoBlue-Dynamic" descr="{&quot;templafy&quot;:{&quot;id&quot;:&quot;e1ff4155-3db1-4bbb-85a7-437eca614c8d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6" name="Classification-Dynamic" descr="{&quot;templafy&quot;:{&quot;id&quot;:&quot;1400d254-c5b0-49a9-bbba-c97223cc9af9&quot;}}">
            <a:extLst>
              <a:ext uri="{FF2B5EF4-FFF2-40B4-BE49-F238E27FC236}">
                <a16:creationId xmlns:a16="http://schemas.microsoft.com/office/drawing/2014/main" id="{870EB466-B92B-9D4D-974E-A49C0F424152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9824106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orient="horz" pos="2704" userDrawn="1">
          <p15:clr>
            <a:srgbClr val="FBAE40"/>
          </p15:clr>
        </p15:guide>
        <p15:guide id="4" orient="horz" pos="2334" userDrawn="1">
          <p15:clr>
            <a:srgbClr val="FBAE40"/>
          </p15:clr>
        </p15:guide>
        <p15:guide id="5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 and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9DE307C8-D1C3-00E2-C5B0-2A7EBB981384}"/>
              </a:ext>
            </a:extLst>
          </p:cNvPr>
          <p:cNvSpPr/>
          <p:nvPr/>
        </p:nvSpPr>
        <p:spPr>
          <a:xfrm>
            <a:off x="0" y="0"/>
            <a:ext cx="12195175" cy="6861495"/>
          </a:xfrm>
          <a:custGeom>
            <a:avLst/>
            <a:gdLst>
              <a:gd name="connsiteX0" fmla="*/ 0 w 12195175"/>
              <a:gd name="connsiteY0" fmla="*/ 0 h 6861495"/>
              <a:gd name="connsiteX1" fmla="*/ 12195175 w 12195175"/>
              <a:gd name="connsiteY1" fmla="*/ 0 h 6861495"/>
              <a:gd name="connsiteX2" fmla="*/ 12195175 w 12195175"/>
              <a:gd name="connsiteY2" fmla="*/ 6861496 h 6861495"/>
              <a:gd name="connsiteX3" fmla="*/ 0 w 12195175"/>
              <a:gd name="connsiteY3" fmla="*/ 6861496 h 6861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61495">
                <a:moveTo>
                  <a:pt x="0" y="0"/>
                </a:moveTo>
                <a:lnTo>
                  <a:pt x="12195175" y="0"/>
                </a:lnTo>
                <a:lnTo>
                  <a:pt x="12195175" y="6861496"/>
                </a:lnTo>
                <a:lnTo>
                  <a:pt x="0" y="6861496"/>
                </a:lnTo>
                <a:close/>
              </a:path>
            </a:pathLst>
          </a:custGeom>
          <a:solidFill>
            <a:srgbClr val="0057D2"/>
          </a:solidFill>
          <a:ln w="1016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" name="Anvil" descr="preencoded.png">
            <a:extLst>
              <a:ext uri="{FF2B5EF4-FFF2-40B4-BE49-F238E27FC236}">
                <a16:creationId xmlns:a16="http://schemas.microsoft.com/office/drawing/2014/main" id="{6C575B3E-49FD-8450-F2CB-84C6E7A1153D}"/>
              </a:ext>
            </a:extLst>
          </p:cNvPr>
          <p:cNvSpPr/>
          <p:nvPr/>
        </p:nvSpPr>
        <p:spPr>
          <a:xfrm>
            <a:off x="752355" y="1156532"/>
            <a:ext cx="5613722" cy="2756252"/>
          </a:xfrm>
          <a:custGeom>
            <a:avLst/>
            <a:gdLst>
              <a:gd name="connsiteX0" fmla="*/ 0 w 5613722"/>
              <a:gd name="connsiteY0" fmla="*/ 0 h 2756252"/>
              <a:gd name="connsiteX1" fmla="*/ 0 w 5613722"/>
              <a:gd name="connsiteY1" fmla="*/ 2756252 h 2756252"/>
              <a:gd name="connsiteX2" fmla="*/ 2852875 w 5613722"/>
              <a:gd name="connsiteY2" fmla="*/ 2756252 h 2756252"/>
              <a:gd name="connsiteX3" fmla="*/ 5613722 w 5613722"/>
              <a:gd name="connsiteY3" fmla="*/ 0 h 2756252"/>
              <a:gd name="connsiteX4" fmla="*/ 0 w 5613722"/>
              <a:gd name="connsiteY4" fmla="*/ 0 h 2756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3722" h="2756252">
                <a:moveTo>
                  <a:pt x="0" y="0"/>
                </a:moveTo>
                <a:lnTo>
                  <a:pt x="0" y="2756252"/>
                </a:lnTo>
                <a:lnTo>
                  <a:pt x="2852875" y="2756252"/>
                </a:lnTo>
                <a:lnTo>
                  <a:pt x="5613722" y="0"/>
                </a:lnTo>
                <a:lnTo>
                  <a:pt x="0" y="0"/>
                </a:lnTo>
                <a:close/>
              </a:path>
            </a:pathLst>
          </a:custGeom>
          <a:solidFill>
            <a:srgbClr val="1B90FF"/>
          </a:solidFill>
          <a:ln w="927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F6D8674-EA25-0C87-7F7A-4B6FFA7F1F1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836062" y="0"/>
            <a:ext cx="4359114" cy="6858000"/>
          </a:xfrm>
        </p:spPr>
        <p:txBody>
          <a:bodyPr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A222ABC1-A03E-5EDE-02E2-6F3794850C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401" y="2206502"/>
            <a:ext cx="5529704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bg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462713959" name="LogoWhite-Dynamic" descr="{&quot;templafy&quot;:{&quot;id&quot;:&quot;ae30ed49-76db-405c-8e79-7aba1a001200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5" name="Classification-Dynamic" descr="{&quot;templafy&quot;:{&quot;id&quot;:&quot;c0ba914e-4f09-45b0-9f6c-35c8b490f42b&quot;}}">
            <a:extLst>
              <a:ext uri="{FF2B5EF4-FFF2-40B4-BE49-F238E27FC236}">
                <a16:creationId xmlns:a16="http://schemas.microsoft.com/office/drawing/2014/main" id="{7A6CB977-D711-D436-9DC2-AAFCC56F9CAA}"/>
              </a:ext>
            </a:extLst>
          </p:cNvPr>
          <p:cNvSpPr txBox="1"/>
          <p:nvPr userDrawn="1"/>
        </p:nvSpPr>
        <p:spPr>
          <a:xfrm>
            <a:off x="440401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9797496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 items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1580844"/>
            <a:ext cx="11185200" cy="4764394"/>
          </a:xfrm>
        </p:spPr>
        <p:txBody>
          <a:bodyPr>
            <a:normAutofit/>
          </a:bodyPr>
          <a:lstStyle>
            <a:lvl1pPr marL="0" marR="0" indent="0" algn="l" defTabSz="1088558" rtl="0" eaLnBrk="1" fontAlgn="auto" latinLnBrk="0" hangingPunct="1">
              <a:lnSpc>
                <a:spcPct val="100000"/>
              </a:lnSpc>
              <a:spcBef>
                <a:spcPts val="30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2000" b="0"/>
            </a:lvl1pPr>
            <a:lvl2pPr marL="179964" marR="0" indent="-179964" algn="l" defTabSz="108855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800"/>
            </a:lvl2pPr>
            <a:lvl3pPr marL="359928" marR="0" indent="-179352" algn="l" defTabSz="108855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tabLst/>
              <a:defRPr sz="1800" baseline="0"/>
            </a:lvl3pPr>
            <a:lvl4pPr marL="539892" marR="0" indent="-179964" algn="l" defTabSz="1088558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Courier New" pitchFamily="49" charset="0"/>
              <a:buChar char="o"/>
              <a:tabLst/>
              <a:defRPr sz="1600"/>
            </a:lvl4pPr>
            <a:lvl5pPr>
              <a:buClr>
                <a:schemeClr val="accent2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/>
              <a:t>Agenda Item/Divider Headlin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3" name="Agenda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59360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 userDrawn="1">
          <p15:clr>
            <a:srgbClr val="FBAE40"/>
          </p15:clr>
        </p15:guide>
        <p15:guide id="2" orient="horz" pos="981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316" userDrawn="1">
          <p15:clr>
            <a:srgbClr val="FBAE40"/>
          </p15:clr>
        </p15:guide>
        <p15:guide id="5" orient="horz" pos="551" userDrawn="1">
          <p15:clr>
            <a:srgbClr val="FBAE40"/>
          </p15:clr>
        </p15:guide>
        <p15:guide id="6" orient="horz" pos="3997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3090446"/>
            <a:ext cx="11185200" cy="677108"/>
          </a:xfrm>
        </p:spPr>
        <p:txBody>
          <a:bodyPr anchor="ctr" anchorCtr="0">
            <a:noAutofit/>
          </a:bodyPr>
          <a:lstStyle>
            <a:lvl1pPr>
              <a:defRPr sz="44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952787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03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  <p15:guide id="3" pos="736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image placeholder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3427200"/>
            <a:ext cx="12195175" cy="3430800"/>
          </a:xfrm>
          <a:noFill/>
        </p:spPr>
        <p:txBody>
          <a:bodyPr tIns="324000"/>
          <a:lstStyle>
            <a:lvl1pPr marL="0" marR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Placeholder for image and illustration</a:t>
            </a:r>
          </a:p>
        </p:txBody>
      </p:sp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4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898527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364" userDrawn="1">
          <p15:clr>
            <a:srgbClr val="FBAE40"/>
          </p15:clr>
        </p15:guide>
        <p15:guide id="3" pos="303" userDrawn="1">
          <p15:clr>
            <a:srgbClr val="FBAE40"/>
          </p15:clr>
        </p15:guide>
        <p15:guide id="4" orient="horz" pos="865" userDrawn="1">
          <p15:clr>
            <a:srgbClr val="FBAE40"/>
          </p15:clr>
        </p15:guide>
        <p15:guide id="5" orient="horz" pos="129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4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453302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364" userDrawn="1">
          <p15:clr>
            <a:srgbClr val="FBAE40"/>
          </p15:clr>
        </p15:guide>
        <p15:guide id="3" pos="303" userDrawn="1">
          <p15:clr>
            <a:srgbClr val="FBAE40"/>
          </p15:clr>
        </p15:guide>
        <p15:guide id="4" orient="horz" pos="865" userDrawn="1">
          <p15:clr>
            <a:srgbClr val="FBAE40"/>
          </p15:clr>
        </p15:guide>
        <p15:guide id="5" orient="horz" pos="129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67436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551" userDrawn="1">
          <p15:clr>
            <a:srgbClr val="FBAE40"/>
          </p15:clr>
        </p15:guide>
        <p15:guide id="5" orient="horz" pos="399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1650" y="1557338"/>
            <a:ext cx="11186477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93322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 userDrawn="1">
          <p15:clr>
            <a:srgbClr val="FBAE40"/>
          </p15:clr>
        </p15:guide>
        <p15:guide id="2" orient="horz" pos="399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318" userDrawn="1">
          <p15:clr>
            <a:srgbClr val="FBAE40"/>
          </p15:clr>
        </p15:guide>
        <p15:guide id="5" orient="horz" pos="552" userDrawn="1">
          <p15:clr>
            <a:srgbClr val="FBAE40"/>
          </p15:clr>
        </p15:guide>
        <p15:guide id="6" orient="horz" pos="981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- column 2"/>
          <p:cNvSpPr>
            <a:spLocks noGrp="1"/>
          </p:cNvSpPr>
          <p:nvPr>
            <p:ph type="body" sz="quarter" idx="11" hasCustomPrompt="1"/>
          </p:nvPr>
        </p:nvSpPr>
        <p:spPr>
          <a:xfrm>
            <a:off x="6362477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0481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99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pos="3674" userDrawn="1">
          <p15:clr>
            <a:srgbClr val="FBAE40"/>
          </p15:clr>
        </p15:guide>
        <p15:guide id="5" pos="4007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551" userDrawn="1">
          <p15:clr>
            <a:srgbClr val="FBAE40"/>
          </p15:clr>
        </p15:guide>
        <p15:guide id="8" orient="horz" pos="981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- column 3"/>
          <p:cNvSpPr>
            <a:spLocks noGrp="1"/>
          </p:cNvSpPr>
          <p:nvPr>
            <p:ph type="body" sz="quarter" idx="13" hasCustomPrompt="1"/>
          </p:nvPr>
        </p:nvSpPr>
        <p:spPr>
          <a:xfrm>
            <a:off x="8126477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- column 2"/>
          <p:cNvSpPr>
            <a:spLocks noGrp="1"/>
          </p:cNvSpPr>
          <p:nvPr>
            <p:ph type="body" sz="quarter" idx="12" hasCustomPrompt="1"/>
          </p:nvPr>
        </p:nvSpPr>
        <p:spPr>
          <a:xfrm>
            <a:off x="4315238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64163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563" userDrawn="1">
          <p15:clr>
            <a:srgbClr val="FBAE40"/>
          </p15:clr>
        </p15:guide>
        <p15:guide id="4" pos="2717" userDrawn="1">
          <p15:clr>
            <a:srgbClr val="FBAE40"/>
          </p15:clr>
        </p15:guide>
        <p15:guide id="5" pos="4964" userDrawn="1">
          <p15:clr>
            <a:srgbClr val="FBAE40"/>
          </p15:clr>
        </p15:guide>
        <p15:guide id="6" pos="5119" userDrawn="1">
          <p15:clr>
            <a:srgbClr val="FBAE40"/>
          </p15:clr>
        </p15:guide>
        <p15:guide id="7" pos="7364" userDrawn="1">
          <p15:clr>
            <a:srgbClr val="FBAE40"/>
          </p15:clr>
        </p15:guide>
        <p15:guide id="8" orient="horz" pos="551" userDrawn="1">
          <p15:clr>
            <a:srgbClr val="FBAE40"/>
          </p15:clr>
        </p15:guide>
        <p15:guide id="9" orient="horz" pos="981" userDrawn="1">
          <p15:clr>
            <a:srgbClr val="FBAE40"/>
          </p15:clr>
        </p15:guide>
        <p15:guide id="10" orient="horz" pos="3997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362477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62477" y="1557337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557337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4941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981" userDrawn="1">
          <p15:clr>
            <a:srgbClr val="FBAE40"/>
          </p15:clr>
        </p15:guide>
        <p15:guide id="5" orient="horz" pos="2750" userDrawn="1">
          <p15:clr>
            <a:srgbClr val="FBAE40"/>
          </p15:clr>
        </p15:guide>
        <p15:guide id="6" orient="horz" pos="3004" userDrawn="1">
          <p15:clr>
            <a:srgbClr val="FBAE40"/>
          </p15:clr>
        </p15:guide>
        <p15:guide id="7" orient="horz" pos="3997" userDrawn="1">
          <p15:clr>
            <a:srgbClr val="FBAE40"/>
          </p15:clr>
        </p15:guide>
        <p15:guide id="8" pos="3682" userDrawn="1">
          <p15:clr>
            <a:srgbClr val="FBAE40"/>
          </p15:clr>
        </p15:guide>
        <p15:guide id="9" pos="4000" userDrawn="1">
          <p15:clr>
            <a:srgbClr val="FBAE40"/>
          </p15:clr>
        </p15:guide>
        <p15:guide id="10" pos="7364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nk cover with anvil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67B704E-206C-83F1-209C-8AC5AA593D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3375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7B704E-206C-83F1-209C-8AC5AA593D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">
            <a:extLst>
              <a:ext uri="{FF2B5EF4-FFF2-40B4-BE49-F238E27FC236}">
                <a16:creationId xmlns:a16="http://schemas.microsoft.com/office/drawing/2014/main" id="{37E79459-E5C5-5E87-E38B-80855D38E462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rgbClr val="00144A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846E736-979F-0D4B-6D59-D0EA5D367E1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0936" y="1216758"/>
            <a:ext cx="8887864" cy="4424483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10900800" cy="997196"/>
          </a:xfrm>
        </p:spPr>
        <p:txBody>
          <a:bodyPr vert="horz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79869855" name="LogoWhite-Dynamic" descr="{&quot;templafy&quot;:{&quot;id&quot;:&quot;f311321f-6dec-468e-bf1d-41970cf5b78d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7" name="Classification-Dynamic" descr="{&quot;templafy&quot;:{&quot;id&quot;:&quot;34991d23-440a-47c2-bb45-be4011253002&quot;}}">
            <a:extLst>
              <a:ext uri="{FF2B5EF4-FFF2-40B4-BE49-F238E27FC236}">
                <a16:creationId xmlns:a16="http://schemas.microsoft.com/office/drawing/2014/main" id="{1D05DC80-84C9-9ECA-3B84-3577D8D8165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6672572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orient="horz" pos="2688" userDrawn="1">
          <p15:clr>
            <a:srgbClr val="FBAE40"/>
          </p15:clr>
        </p15:guide>
        <p15:guide id="4" orient="horz" pos="2334" userDrawn="1">
          <p15:clr>
            <a:srgbClr val="FBAE40"/>
          </p15:clr>
        </p15:guide>
        <p15:guide id="5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99277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299277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401639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401639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76675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455" userDrawn="1">
          <p15:clr>
            <a:srgbClr val="FBAE40"/>
          </p15:clr>
        </p15:guide>
        <p15:guide id="4" pos="2773" userDrawn="1">
          <p15:clr>
            <a:srgbClr val="FBAE40"/>
          </p15:clr>
        </p15:guide>
        <p15:guide id="5" pos="4910" userDrawn="1">
          <p15:clr>
            <a:srgbClr val="FBAE40"/>
          </p15:clr>
        </p15:guide>
        <p15:guide id="6" pos="5227" userDrawn="1">
          <p15:clr>
            <a:srgbClr val="FBAE40"/>
          </p15:clr>
        </p15:guide>
        <p15:guide id="7" pos="7364" userDrawn="1">
          <p15:clr>
            <a:srgbClr val="FBAE40"/>
          </p15:clr>
        </p15:guide>
        <p15:guide id="8" orient="horz" pos="551" userDrawn="1">
          <p15:clr>
            <a:srgbClr val="FBAE40"/>
          </p15:clr>
        </p15:guide>
        <p15:guide id="9" orient="horz" pos="981" userDrawn="1">
          <p15:clr>
            <a:srgbClr val="FBAE40"/>
          </p15:clr>
        </p15:guide>
        <p15:guide id="10" orient="horz" pos="2428" userDrawn="1">
          <p15:clr>
            <a:srgbClr val="FBAE40"/>
          </p15:clr>
        </p15:guide>
        <p15:guide id="11" orient="horz" pos="2743" userDrawn="1">
          <p15:clr>
            <a:srgbClr val="FBAE40"/>
          </p15:clr>
        </p15:guide>
        <p15:guide id="12" orient="horz" pos="3997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- column 2"/>
          <p:cNvSpPr>
            <a:spLocks noGrp="1"/>
          </p:cNvSpPr>
          <p:nvPr>
            <p:ph type="body" sz="quarter" idx="13" hasCustomPrompt="1"/>
          </p:nvPr>
        </p:nvSpPr>
        <p:spPr>
          <a:xfrm>
            <a:off x="927487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9274877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13" name="Text placeholder - column 2"/>
          <p:cNvSpPr>
            <a:spLocks noGrp="1"/>
          </p:cNvSpPr>
          <p:nvPr>
            <p:ph type="body" sz="quarter" idx="17" hasCustomPrompt="1"/>
          </p:nvPr>
        </p:nvSpPr>
        <p:spPr>
          <a:xfrm>
            <a:off x="6351252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51252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- column 2"/>
          <p:cNvSpPr>
            <a:spLocks noGrp="1"/>
          </p:cNvSpPr>
          <p:nvPr>
            <p:ph type="body" sz="quarter" idx="15" hasCustomPrompt="1"/>
          </p:nvPr>
        </p:nvSpPr>
        <p:spPr>
          <a:xfrm>
            <a:off x="3427626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427626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3878220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05944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981" userDrawn="1">
          <p15:clr>
            <a:srgbClr val="FBAE40"/>
          </p15:clr>
        </p15:guide>
        <p15:guide id="5" orient="horz" pos="2160" userDrawn="1">
          <p15:clr>
            <a:srgbClr val="FBAE40"/>
          </p15:clr>
        </p15:guide>
        <p15:guide id="6" orient="horz" pos="2442" userDrawn="1">
          <p15:clr>
            <a:srgbClr val="FBAE40"/>
          </p15:clr>
        </p15:guide>
        <p15:guide id="7" orient="horz" pos="3990" userDrawn="1">
          <p15:clr>
            <a:srgbClr val="FBAE40"/>
          </p15:clr>
        </p15:guide>
        <p15:guide id="8" pos="1840" userDrawn="1">
          <p15:clr>
            <a:srgbClr val="FBAE40"/>
          </p15:clr>
        </p15:guide>
        <p15:guide id="9" pos="2159" userDrawn="1">
          <p15:clr>
            <a:srgbClr val="FBAE40"/>
          </p15:clr>
        </p15:guide>
        <p15:guide id="10" pos="3683" userDrawn="1">
          <p15:clr>
            <a:srgbClr val="FBAE40"/>
          </p15:clr>
        </p15:guide>
        <p15:guide id="11" pos="4000" userDrawn="1">
          <p15:clr>
            <a:srgbClr val="FBAE40"/>
          </p15:clr>
        </p15:guide>
        <p15:guide id="12" pos="5525" userDrawn="1">
          <p15:clr>
            <a:srgbClr val="FBAE40"/>
          </p15:clr>
        </p15:guide>
        <p15:guide id="13" pos="5842" userDrawn="1">
          <p15:clr>
            <a:srgbClr val="FBAE40"/>
          </p15:clr>
        </p15:guide>
        <p15:guide id="14" pos="7364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800000"/>
            <a:ext cx="11185200" cy="3285032"/>
          </a:xfrm>
        </p:spPr>
        <p:txBody>
          <a:bodyPr/>
          <a:lstStyle>
            <a:lvl1pPr marL="395921" indent="-395921">
              <a:lnSpc>
                <a:spcPct val="90000"/>
              </a:lnSpc>
              <a:spcBef>
                <a:spcPts val="600"/>
              </a:spcBef>
              <a:defRPr sz="5999" b="0" i="0">
                <a:latin typeface="72 Brand Medium" panose="020B0504030603020204" pitchFamily="34" charset="0"/>
              </a:defRPr>
            </a:lvl1pPr>
            <a:lvl2pPr marL="395921" indent="0">
              <a:buNone/>
              <a:defRPr sz="1600"/>
            </a:lvl2pPr>
          </a:lstStyle>
          <a:p>
            <a:pPr lvl="0"/>
            <a:r>
              <a:rPr lang="en-US" noProof="0"/>
              <a:t>“Quote goes here </a:t>
            </a:r>
            <a:br>
              <a:rPr lang="en-US" noProof="0"/>
            </a:br>
            <a:r>
              <a:rPr lang="en-US" noProof="0"/>
              <a:t>and here.”</a:t>
            </a:r>
          </a:p>
          <a:p>
            <a:pPr lvl="1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932785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4" orient="horz" pos="1133" userDrawn="1">
          <p15:clr>
            <a:srgbClr val="FBAE40"/>
          </p15:clr>
        </p15:guide>
        <p15:guide id="5" orient="horz" pos="3204" userDrawn="1">
          <p15:clr>
            <a:srgbClr val="FBAE40"/>
          </p15:clr>
        </p15:guide>
        <p15:guide id="6" pos="7363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Imag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/3 right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27175" y="0"/>
            <a:ext cx="4068000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03999" y="1557338"/>
            <a:ext cx="7092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7092000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50202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991" userDrawn="1">
          <p15:clr>
            <a:srgbClr val="FBAE40"/>
          </p15:clr>
        </p15:guide>
        <p15:guide id="3" pos="4786" userDrawn="1">
          <p15:clr>
            <a:srgbClr val="FBAE40"/>
          </p15:clr>
        </p15:guide>
        <p15:guide id="4" pos="5111" userDrawn="1">
          <p15:clr>
            <a:srgbClr val="FBAE40"/>
          </p15:clr>
        </p15:guide>
        <p15:guide id="5" orient="horz" pos="317" userDrawn="1">
          <p15:clr>
            <a:srgbClr val="FBAE40"/>
          </p15:clr>
        </p15:guide>
        <p15:guide id="6" orient="horz" pos="551" userDrawn="1">
          <p15:clr>
            <a:srgbClr val="FBAE40"/>
          </p15:clr>
        </p15:guide>
        <p15:guide id="7" orient="horz" pos="981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0"/>
            <a:ext cx="12195175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979114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62477" y="1557338"/>
            <a:ext cx="5328000" cy="4778662"/>
          </a:xfrm>
          <a:noFill/>
        </p:spPr>
        <p:txBody>
          <a:bodyPr vert="horz" lIns="0" tIns="1512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screenshot</a:t>
            </a:r>
            <a:endParaRPr lang="de-DE"/>
          </a:p>
        </p:txBody>
      </p:sp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5328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227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981" userDrawn="1">
          <p15:clr>
            <a:srgbClr val="FBAE40"/>
          </p15:clr>
        </p15:guide>
        <p15:guide id="3" pos="3674" userDrawn="1">
          <p15:clr>
            <a:srgbClr val="FBAE40"/>
          </p15:clr>
        </p15:guide>
        <p15:guide id="4" pos="4008" userDrawn="1">
          <p15:clr>
            <a:srgbClr val="FBAE40"/>
          </p15:clr>
        </p15:guide>
        <p15:guide id="5" pos="7364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551" userDrawn="1">
          <p15:clr>
            <a:srgbClr val="FBAE40"/>
          </p15:clr>
        </p15:guide>
        <p15:guide id="8" orient="horz" pos="3991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"/>
          <p:cNvSpPr>
            <a:spLocks noGrp="1"/>
          </p:cNvSpPr>
          <p:nvPr>
            <p:ph idx="1" hasCustomPrompt="1"/>
          </p:nvPr>
        </p:nvSpPr>
        <p:spPr bwMode="gray">
          <a:xfrm>
            <a:off x="504000" y="1557338"/>
            <a:ext cx="11185200" cy="4778662"/>
          </a:xfrm>
          <a:noFill/>
        </p:spPr>
        <p:txBody>
          <a:bodyPr tIns="1368000"/>
          <a:lstStyle>
            <a:lvl1pPr algn="ctr">
              <a:defRPr sz="1400" b="0"/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60987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981" userDrawn="1">
          <p15:clr>
            <a:srgbClr val="FBAE40"/>
          </p15:clr>
        </p15:guide>
        <p15:guide id="5" orient="horz" pos="3991" userDrawn="1">
          <p15:clr>
            <a:srgbClr val="FBAE40"/>
          </p15:clr>
        </p15:guide>
        <p15:guide id="6" pos="736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4218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1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, Contact and 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433C5639-DDA2-864A-9DC3-7FC80AC852D5}"/>
              </a:ext>
            </a:extLst>
          </p:cNvPr>
          <p:cNvSpPr txBox="1"/>
          <p:nvPr userDrawn="1"/>
        </p:nvSpPr>
        <p:spPr>
          <a:xfrm>
            <a:off x="503238" y="2905125"/>
            <a:ext cx="183704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lang="en-US" sz="1600" b="0" i="0">
                <a:latin typeface="+mn-lt"/>
              </a:rPr>
              <a:t>Contact information:</a:t>
            </a:r>
          </a:p>
        </p:txBody>
      </p:sp>
      <p:sp>
        <p:nvSpPr>
          <p:cNvPr id="9" name="Copyright - Dynamic" descr="{&quot;templafy&quot;:{&quot;id&quot;:&quot;68c8689a-7a81-470c-8a82-d35a6ccb8b77&quot;}}">
            <a:extLst>
              <a:ext uri="{FF2B5EF4-FFF2-40B4-BE49-F238E27FC236}">
                <a16:creationId xmlns:a16="http://schemas.microsoft.com/office/drawing/2014/main" id="{EDAF1AF5-D568-20CC-6052-F655D86F5486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 b="0" i="0">
                <a:latin typeface="+mn-lt"/>
              </a:rPr>
              <a:t>© 2024 SAP SE or an SAP affiliate company. All rights reserved. See Legal Notice on </a:t>
            </a:r>
            <a:r>
              <a:rPr lang="en-US" sz="600" b="0" i="0" err="1">
                <a:latin typeface="+mn-lt"/>
              </a:rPr>
              <a:t>www.sap.com</a:t>
            </a:r>
            <a:r>
              <a:rPr lang="en-US" sz="600" b="0" i="0">
                <a:latin typeface="+mn-lt"/>
              </a:rPr>
              <a:t>/legal-notice for use terms, disclaimers, disclosures, or restrictions related to this material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92DE12-4084-77D2-FD2A-8E63F6FBE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1520825"/>
            <a:ext cx="5413477" cy="846386"/>
          </a:xfrm>
        </p:spPr>
        <p:txBody>
          <a:bodyPr/>
          <a:lstStyle>
            <a:lvl1pPr>
              <a:defRPr sz="5500" b="0" i="0">
                <a:latin typeface="72 Brand Medium" panose="020B0504030603020204" pitchFamily="34" charset="0"/>
              </a:defRPr>
            </a:lvl1pPr>
          </a:lstStyle>
          <a:p>
            <a:r>
              <a:rPr lang="en-GB"/>
              <a:t>Thank you.</a:t>
            </a:r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A23274F-1EBD-A73A-AC54-963A234E9E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63291" y="5990000"/>
            <a:ext cx="727059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09031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7364" userDrawn="1">
          <p15:clr>
            <a:srgbClr val="FBAE40"/>
          </p15:clr>
        </p15:guide>
        <p15:guide id="2" orient="horz" pos="958" userDrawn="1">
          <p15:clr>
            <a:srgbClr val="FBAE40"/>
          </p15:clr>
        </p15:guide>
        <p15:guide id="4" orient="horz" pos="1830" userDrawn="1">
          <p15:clr>
            <a:srgbClr val="FBAE40"/>
          </p15:clr>
        </p15:guide>
        <p15:guide id="5" orient="horz" pos="4000" userDrawn="1">
          <p15:clr>
            <a:srgbClr val="FBAE40"/>
          </p15:clr>
        </p15:guide>
        <p15:guide id="6" pos="317" userDrawn="1">
          <p15:clr>
            <a:srgbClr val="FBAE40"/>
          </p15:clr>
        </p15:guide>
        <p15:guide id="8" pos="3841" userDrawn="1">
          <p15:clr>
            <a:srgbClr val="FBAE40"/>
          </p15:clr>
        </p15:guide>
        <p15:guide id="9" orient="horz" pos="318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48B029D-C1BA-6745-8ADE-EF91FC90E08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26118" y="0"/>
            <a:ext cx="4069057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01723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ngo cover with anvil an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07CC981-2E4E-11B1-C37B-1DDB5D3E50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1064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7CC981-2E4E-11B1-C37B-1DDB5D3E50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9" name="Rectangle 148">
            <a:extLst>
              <a:ext uri="{FF2B5EF4-FFF2-40B4-BE49-F238E27FC236}">
                <a16:creationId xmlns:a16="http://schemas.microsoft.com/office/drawing/2014/main" id="{3F9D113E-DB39-0CF2-578D-9B5D35C92F55}"/>
              </a:ext>
            </a:extLst>
          </p:cNvPr>
          <p:cNvSpPr/>
          <p:nvPr userDrawn="1"/>
        </p:nvSpPr>
        <p:spPr bwMode="gray">
          <a:xfrm>
            <a:off x="7102258" y="0"/>
            <a:ext cx="5092917" cy="6858000"/>
          </a:xfrm>
          <a:prstGeom prst="rect">
            <a:avLst/>
          </a:prstGeom>
          <a:solidFill>
            <a:srgbClr val="89D1FF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DD06AF2-2141-CEFD-4797-A6E50CC267FE}"/>
              </a:ext>
            </a:extLst>
          </p:cNvPr>
          <p:cNvSpPr/>
          <p:nvPr userDrawn="1"/>
        </p:nvSpPr>
        <p:spPr bwMode="gray">
          <a:xfrm>
            <a:off x="1" y="0"/>
            <a:ext cx="7226300" cy="6858000"/>
          </a:xfrm>
          <a:prstGeom prst="rect">
            <a:avLst/>
          </a:prstGeom>
          <a:solidFill>
            <a:srgbClr val="D1EFFF"/>
          </a:solidFill>
          <a:ln w="1342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633305" cy="997196"/>
          </a:xfrm>
        </p:spPr>
        <p:txBody>
          <a:bodyPr vert="horz" anchor="b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482996304" name="LogoWhite-Dynamic" descr="{&quot;templafy&quot;:{&quot;id&quot;:&quot;a0444597-b454-4b66-be2a-62ce43b21692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8" name="Classification-Dynamic" descr="{&quot;templafy&quot;:{&quot;id&quot;:&quot;a16dfd42-0de3-46c7-a276-e906e46a8fb7&quot;}}">
            <a:extLst>
              <a:ext uri="{FF2B5EF4-FFF2-40B4-BE49-F238E27FC236}">
                <a16:creationId xmlns:a16="http://schemas.microsoft.com/office/drawing/2014/main" id="{F1333C1B-AD40-D53A-5A1E-EFB8C6390D4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778458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orient="horz" pos="2688" userDrawn="1">
          <p15:clr>
            <a:srgbClr val="FBAE40"/>
          </p15:clr>
        </p15:guide>
        <p15:guide id="4" orient="horz" pos="2341" userDrawn="1">
          <p15:clr>
            <a:srgbClr val="FBAE40"/>
          </p15:clr>
        </p15:guide>
        <p15:guide id="5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7615" y="48315"/>
            <a:ext cx="3104008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</a:t>
            </a:r>
            <a:r>
              <a:rPr lang="en-US" noProof="0" err="1"/>
              <a:t>SlideProof</a:t>
            </a:r>
            <a:r>
              <a:rPr lang="en-US" noProof="0"/>
              <a:t>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</a:t>
            </a:r>
            <a:r>
              <a:rPr lang="en-US" noProof="0" err="1"/>
              <a:t>SlideProof</a:t>
            </a:r>
            <a:r>
              <a:rPr lang="en-US" noProof="0"/>
              <a:t>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3" name="SP Agenda Section" hidden="1"/>
          <p:cNvGrpSpPr/>
          <p:nvPr userDrawn="1"/>
        </p:nvGrpSpPr>
        <p:grpSpPr>
          <a:xfrm>
            <a:off x="1798133" y="2085631"/>
            <a:ext cx="8659529" cy="369332"/>
            <a:chOff x="1797664" y="2085631"/>
            <a:chExt cx="8657274" cy="369332"/>
          </a:xfrm>
        </p:grpSpPr>
        <p:sp>
          <p:nvSpPr>
            <p:cNvPr id="20" name="Textbox" hidden="1"/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/>
                <a:t>&lt;TEXT&gt;</a:t>
              </a:r>
            </a:p>
          </p:txBody>
        </p:sp>
        <p:sp>
          <p:nvSpPr>
            <p:cNvPr id="21" name="Textbox" hidden="1"/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/>
                <a:t>&lt;N&gt;</a:t>
              </a:r>
            </a:p>
          </p:txBody>
        </p:sp>
        <p:sp>
          <p:nvSpPr>
            <p:cNvPr id="22" name="Textbox" hidden="1"/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/>
                <a:t>&lt;P&gt;</a:t>
              </a:r>
            </a:p>
          </p:txBody>
        </p:sp>
        <p:sp>
          <p:nvSpPr>
            <p:cNvPr id="24" name="Textbox" hidden="1"/>
            <p:cNvSpPr txBox="1">
              <a:spLocks/>
            </p:cNvSpPr>
            <p:nvPr userDrawn="1"/>
          </p:nvSpPr>
          <p:spPr>
            <a:xfrm>
              <a:off x="7696160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TIMESLOT&gt;</a:t>
              </a:r>
            </a:p>
          </p:txBody>
        </p:sp>
        <p:sp>
          <p:nvSpPr>
            <p:cNvPr id="28" name="Textbox" hidden="1"/>
            <p:cNvSpPr txBox="1">
              <a:spLocks/>
            </p:cNvSpPr>
            <p:nvPr userDrawn="1"/>
          </p:nvSpPr>
          <p:spPr>
            <a:xfrm>
              <a:off x="6209330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RESPONSIBLE&gt;</a:t>
              </a:r>
            </a:p>
          </p:txBody>
        </p:sp>
        <p:sp>
          <p:nvSpPr>
            <p:cNvPr id="29" name="Textbox" hidden="1"/>
            <p:cNvSpPr txBox="1">
              <a:spLocks/>
            </p:cNvSpPr>
            <p:nvPr userDrawn="1"/>
          </p:nvSpPr>
          <p:spPr>
            <a:xfrm>
              <a:off x="904322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DURATION&gt;</a:t>
              </a:r>
            </a:p>
          </p:txBody>
        </p:sp>
      </p:grpSp>
      <p:grpSp>
        <p:nvGrpSpPr>
          <p:cNvPr id="4" name="SP Agenda Section Highlight" hidden="1"/>
          <p:cNvGrpSpPr>
            <a:grpSpLocks/>
          </p:cNvGrpSpPr>
          <p:nvPr userDrawn="1"/>
        </p:nvGrpSpPr>
        <p:grpSpPr>
          <a:xfrm>
            <a:off x="1798132" y="2616963"/>
            <a:ext cx="8659528" cy="369332"/>
            <a:chOff x="1797664" y="2616963"/>
            <a:chExt cx="865727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2" name="Textbox" hidden="1"/>
            <p:cNvSpPr txBox="1">
              <a:spLocks/>
            </p:cNvSpPr>
            <p:nvPr userDrawn="1"/>
          </p:nvSpPr>
          <p:spPr>
            <a:xfrm>
              <a:off x="2267220" y="2616963"/>
              <a:ext cx="3843347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/>
                <a:t>&lt;TEXT&gt;</a:t>
              </a:r>
            </a:p>
          </p:txBody>
        </p:sp>
        <p:sp>
          <p:nvSpPr>
            <p:cNvPr id="33" name="Textbox" hidden="1"/>
            <p:cNvSpPr txBox="1">
              <a:spLocks/>
            </p:cNvSpPr>
            <p:nvPr userDrawn="1"/>
          </p:nvSpPr>
          <p:spPr>
            <a:xfrm>
              <a:off x="1797664" y="2616963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/>
                <a:t>&lt;N&gt;</a:t>
              </a:r>
            </a:p>
          </p:txBody>
        </p:sp>
        <p:sp>
          <p:nvSpPr>
            <p:cNvPr id="34" name="Textbox" hidden="1"/>
            <p:cNvSpPr txBox="1">
              <a:spLocks/>
            </p:cNvSpPr>
            <p:nvPr userDrawn="1"/>
          </p:nvSpPr>
          <p:spPr>
            <a:xfrm>
              <a:off x="9817944" y="2616963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/>
                <a:t>&lt;P&gt;</a:t>
              </a:r>
            </a:p>
          </p:txBody>
        </p:sp>
        <p:sp>
          <p:nvSpPr>
            <p:cNvPr id="35" name="Textbox" hidden="1"/>
            <p:cNvSpPr txBox="1">
              <a:spLocks/>
            </p:cNvSpPr>
            <p:nvPr userDrawn="1"/>
          </p:nvSpPr>
          <p:spPr>
            <a:xfrm>
              <a:off x="7696160" y="2616963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TIMESLOT&gt;</a:t>
              </a:r>
            </a:p>
          </p:txBody>
        </p:sp>
        <p:sp>
          <p:nvSpPr>
            <p:cNvPr id="36" name="Textbox" hidden="1"/>
            <p:cNvSpPr txBox="1">
              <a:spLocks/>
            </p:cNvSpPr>
            <p:nvPr userDrawn="1"/>
          </p:nvSpPr>
          <p:spPr>
            <a:xfrm>
              <a:off x="6209330" y="2616963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RESPONSIBLE&gt;</a:t>
              </a:r>
            </a:p>
          </p:txBody>
        </p:sp>
        <p:sp>
          <p:nvSpPr>
            <p:cNvPr id="37" name="Textbox" hidden="1"/>
            <p:cNvSpPr txBox="1">
              <a:spLocks/>
            </p:cNvSpPr>
            <p:nvPr userDrawn="1"/>
          </p:nvSpPr>
          <p:spPr>
            <a:xfrm>
              <a:off x="9043221" y="2616963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DURATION&gt;</a:t>
              </a:r>
            </a:p>
          </p:txBody>
        </p:sp>
      </p:grpSp>
      <p:grpSp>
        <p:nvGrpSpPr>
          <p:cNvPr id="8" name="SP Agenda Subsection" hidden="1"/>
          <p:cNvGrpSpPr>
            <a:grpSpLocks/>
          </p:cNvGrpSpPr>
          <p:nvPr userDrawn="1"/>
        </p:nvGrpSpPr>
        <p:grpSpPr>
          <a:xfrm>
            <a:off x="2266395" y="3148295"/>
            <a:ext cx="8191268" cy="369332"/>
            <a:chOff x="2265804" y="3155687"/>
            <a:chExt cx="8189134" cy="369332"/>
          </a:xfrm>
        </p:grpSpPr>
        <p:sp>
          <p:nvSpPr>
            <p:cNvPr id="39" name="Textbox" hidden="1"/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/>
                <a:t>&lt;TEXT&gt;</a:t>
              </a:r>
            </a:p>
          </p:txBody>
        </p:sp>
        <p:sp>
          <p:nvSpPr>
            <p:cNvPr id="40" name="Textbox" hidden="1"/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/>
                <a:t>&lt;N&gt;</a:t>
              </a:r>
            </a:p>
          </p:txBody>
        </p:sp>
        <p:sp>
          <p:nvSpPr>
            <p:cNvPr id="41" name="Textbox" hidden="1"/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/>
                <a:t>&lt;P&gt;</a:t>
              </a:r>
            </a:p>
          </p:txBody>
        </p:sp>
        <p:sp>
          <p:nvSpPr>
            <p:cNvPr id="42" name="Textbox" hidden="1"/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TIMESLOT&gt;</a:t>
              </a:r>
            </a:p>
          </p:txBody>
        </p:sp>
        <p:sp>
          <p:nvSpPr>
            <p:cNvPr id="43" name="Textbox" hidden="1"/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RESPONSIBLE&gt;</a:t>
              </a:r>
            </a:p>
          </p:txBody>
        </p:sp>
        <p:sp>
          <p:nvSpPr>
            <p:cNvPr id="44" name="Textbox" hidden="1"/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DURATION&gt;</a:t>
              </a:r>
            </a:p>
          </p:txBody>
        </p:sp>
      </p:grpSp>
      <p:grpSp>
        <p:nvGrpSpPr>
          <p:cNvPr id="9" name="SP Agenda Subsection Highlight" hidden="1"/>
          <p:cNvGrpSpPr>
            <a:grpSpLocks/>
          </p:cNvGrpSpPr>
          <p:nvPr userDrawn="1"/>
        </p:nvGrpSpPr>
        <p:grpSpPr>
          <a:xfrm>
            <a:off x="2266394" y="3679627"/>
            <a:ext cx="8191267" cy="369332"/>
            <a:chOff x="2265804" y="3694411"/>
            <a:chExt cx="818913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46" name="Textbox" hidden="1"/>
            <p:cNvSpPr txBox="1">
              <a:spLocks/>
            </p:cNvSpPr>
            <p:nvPr userDrawn="1"/>
          </p:nvSpPr>
          <p:spPr>
            <a:xfrm>
              <a:off x="2744123" y="3694411"/>
              <a:ext cx="3366444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/>
                <a:t>&lt;TEXT&gt;</a:t>
              </a:r>
            </a:p>
          </p:txBody>
        </p:sp>
        <p:sp>
          <p:nvSpPr>
            <p:cNvPr id="47" name="Textbox" hidden="1"/>
            <p:cNvSpPr txBox="1">
              <a:spLocks/>
            </p:cNvSpPr>
            <p:nvPr userDrawn="1"/>
          </p:nvSpPr>
          <p:spPr>
            <a:xfrm>
              <a:off x="2265804" y="3694411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/>
                <a:t>&lt;N&gt;</a:t>
              </a:r>
            </a:p>
          </p:txBody>
        </p:sp>
        <p:sp>
          <p:nvSpPr>
            <p:cNvPr id="48" name="Textbox" hidden="1"/>
            <p:cNvSpPr txBox="1">
              <a:spLocks/>
            </p:cNvSpPr>
            <p:nvPr userDrawn="1"/>
          </p:nvSpPr>
          <p:spPr>
            <a:xfrm>
              <a:off x="9817944" y="3694411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/>
                <a:t>&lt;P&gt;</a:t>
              </a:r>
            </a:p>
          </p:txBody>
        </p:sp>
        <p:sp>
          <p:nvSpPr>
            <p:cNvPr id="49" name="Textbox" hidden="1"/>
            <p:cNvSpPr txBox="1">
              <a:spLocks/>
            </p:cNvSpPr>
            <p:nvPr userDrawn="1"/>
          </p:nvSpPr>
          <p:spPr>
            <a:xfrm>
              <a:off x="7696160" y="3694411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TIMESLOT&gt;</a:t>
              </a:r>
            </a:p>
          </p:txBody>
        </p:sp>
        <p:sp>
          <p:nvSpPr>
            <p:cNvPr id="50" name="Textbox" hidden="1"/>
            <p:cNvSpPr txBox="1">
              <a:spLocks/>
            </p:cNvSpPr>
            <p:nvPr userDrawn="1"/>
          </p:nvSpPr>
          <p:spPr>
            <a:xfrm>
              <a:off x="6209330" y="3694411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RESPONSIBLE&gt;</a:t>
              </a:r>
            </a:p>
          </p:txBody>
        </p:sp>
        <p:sp>
          <p:nvSpPr>
            <p:cNvPr id="51" name="Textbox" hidden="1"/>
            <p:cNvSpPr txBox="1">
              <a:spLocks/>
            </p:cNvSpPr>
            <p:nvPr userDrawn="1"/>
          </p:nvSpPr>
          <p:spPr>
            <a:xfrm>
              <a:off x="9043221" y="3694411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DURATION&gt;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E400D9E-F8C6-0BA2-F4F4-397DAB7EC3E3}"/>
              </a:ext>
            </a:extLst>
          </p:cNvPr>
          <p:cNvSpPr>
            <a:spLocks noGrp="1"/>
          </p:cNvSpPr>
          <p:nvPr>
            <p:ph type="title" idx="14" hasCustomPrompt="1"/>
          </p:nvPr>
        </p:nvSpPr>
        <p:spPr/>
        <p:txBody>
          <a:bodyPr/>
          <a:lstStyle/>
          <a:p>
            <a:r>
              <a:rPr lang="en-US"/>
              <a:t>Agenda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04758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Divider 1">
    <p:bg>
      <p:bgPr>
        <a:solidFill>
          <a:schemeClr val="accent1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SP Agenda Section" hidden="1">
            <a:extLst>
              <a:ext uri="{FF2B5EF4-FFF2-40B4-BE49-F238E27FC236}">
                <a16:creationId xmlns:a16="http://schemas.microsoft.com/office/drawing/2014/main" id="{91D61CFA-1A29-4B89-8F49-1E216E25DD2B}"/>
              </a:ext>
            </a:extLst>
          </p:cNvPr>
          <p:cNvGrpSpPr>
            <a:grpSpLocks/>
          </p:cNvGrpSpPr>
          <p:nvPr userDrawn="1"/>
        </p:nvGrpSpPr>
        <p:grpSpPr>
          <a:xfrm>
            <a:off x="1285096" y="4096092"/>
            <a:ext cx="10082625" cy="369332"/>
            <a:chOff x="1797664" y="2085631"/>
            <a:chExt cx="5940745" cy="369332"/>
          </a:xfrm>
        </p:grpSpPr>
        <p:sp>
          <p:nvSpPr>
            <p:cNvPr id="72" name="Textbox" hidden="1">
              <a:extLst>
                <a:ext uri="{FF2B5EF4-FFF2-40B4-BE49-F238E27FC236}">
                  <a16:creationId xmlns:a16="http://schemas.microsoft.com/office/drawing/2014/main" id="{8BF45C0E-D24F-4800-98B2-20E0A3AC8C3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73" name="Textbox" hidden="1">
              <a:extLst>
                <a:ext uri="{FF2B5EF4-FFF2-40B4-BE49-F238E27FC236}">
                  <a16:creationId xmlns:a16="http://schemas.microsoft.com/office/drawing/2014/main" id="{B36140C3-09D5-4D3F-906D-270C63E340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74" name="Textbox" hidden="1">
              <a:extLst>
                <a:ext uri="{FF2B5EF4-FFF2-40B4-BE49-F238E27FC236}">
                  <a16:creationId xmlns:a16="http://schemas.microsoft.com/office/drawing/2014/main" id="{871FFF1F-6558-47A3-B57A-1327C25BF0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75" name="Textbox" hidden="1">
              <a:extLst>
                <a:ext uri="{FF2B5EF4-FFF2-40B4-BE49-F238E27FC236}">
                  <a16:creationId xmlns:a16="http://schemas.microsoft.com/office/drawing/2014/main" id="{98FFC8B2-AAEA-4B46-BACD-C85879582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76" name="Textbox" hidden="1">
              <a:extLst>
                <a:ext uri="{FF2B5EF4-FFF2-40B4-BE49-F238E27FC236}">
                  <a16:creationId xmlns:a16="http://schemas.microsoft.com/office/drawing/2014/main" id="{0E8F7A35-E5F6-48B1-BC2B-4D8D2886AA7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77" name="Textbox" hidden="1">
              <a:extLst>
                <a:ext uri="{FF2B5EF4-FFF2-40B4-BE49-F238E27FC236}">
                  <a16:creationId xmlns:a16="http://schemas.microsoft.com/office/drawing/2014/main" id="{D42D33A2-C40A-44B6-BE0C-4D7653C496B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7615" y="48315"/>
            <a:ext cx="3104008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SlideProof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SlideProof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78" name="SP Agenda Subsection" hidden="1">
            <a:extLst>
              <a:ext uri="{FF2B5EF4-FFF2-40B4-BE49-F238E27FC236}">
                <a16:creationId xmlns:a16="http://schemas.microsoft.com/office/drawing/2014/main" id="{3CDEAECC-3C3D-40DC-8048-05157150AD6E}"/>
              </a:ext>
            </a:extLst>
          </p:cNvPr>
          <p:cNvGrpSpPr>
            <a:grpSpLocks/>
          </p:cNvGrpSpPr>
          <p:nvPr userDrawn="1"/>
        </p:nvGrpSpPr>
        <p:grpSpPr>
          <a:xfrm>
            <a:off x="1285096" y="4096092"/>
            <a:ext cx="10082625" cy="369332"/>
            <a:chOff x="1797664" y="2085631"/>
            <a:chExt cx="5940745" cy="369332"/>
          </a:xfrm>
        </p:grpSpPr>
        <p:sp>
          <p:nvSpPr>
            <p:cNvPr id="79" name="Textbox" hidden="1">
              <a:extLst>
                <a:ext uri="{FF2B5EF4-FFF2-40B4-BE49-F238E27FC236}">
                  <a16:creationId xmlns:a16="http://schemas.microsoft.com/office/drawing/2014/main" id="{584D4FFB-892A-49C8-973F-893B258E19B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80" name="Textbox" hidden="1">
              <a:extLst>
                <a:ext uri="{FF2B5EF4-FFF2-40B4-BE49-F238E27FC236}">
                  <a16:creationId xmlns:a16="http://schemas.microsoft.com/office/drawing/2014/main" id="{BB144044-4B4E-495D-8D8D-9D01BCCA9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81" name="Textbox" hidden="1">
              <a:extLst>
                <a:ext uri="{FF2B5EF4-FFF2-40B4-BE49-F238E27FC236}">
                  <a16:creationId xmlns:a16="http://schemas.microsoft.com/office/drawing/2014/main" id="{72849E41-8C22-4F28-A058-02BC25DF49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82" name="Textbox" hidden="1">
              <a:extLst>
                <a:ext uri="{FF2B5EF4-FFF2-40B4-BE49-F238E27FC236}">
                  <a16:creationId xmlns:a16="http://schemas.microsoft.com/office/drawing/2014/main" id="{CA1BEB0B-B88B-4782-BF66-3BC90122CA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83" name="Textbox" hidden="1">
              <a:extLst>
                <a:ext uri="{FF2B5EF4-FFF2-40B4-BE49-F238E27FC236}">
                  <a16:creationId xmlns:a16="http://schemas.microsoft.com/office/drawing/2014/main" id="{2488CE60-C0C7-4375-8E28-316DE55D3DE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84" name="Textbox" hidden="1">
              <a:extLst>
                <a:ext uri="{FF2B5EF4-FFF2-40B4-BE49-F238E27FC236}">
                  <a16:creationId xmlns:a16="http://schemas.microsoft.com/office/drawing/2014/main" id="{FDCF7982-797D-46DB-BA8C-F96B93FBBF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49781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38941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48768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08A9BCBC-5BBF-4E5D-89CA-FE1F19EA8A6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0" y="0"/>
            <a:ext cx="12195175" cy="3426192"/>
          </a:xfrm>
          <a:blipFill>
            <a:blip r:embed="rId2"/>
            <a:stretch>
              <a:fillRect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D7C6100-A398-4EE7-94CC-C67D14D1DF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0E079EBE-5B45-4D74-948C-D1D11FEF557D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5FD9E93-11C1-45CE-8416-3F93AF600702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F75A8FAA-9235-4B84-941E-D3A4C0BE5AE6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DF0A577D-9F60-4D0E-90A8-4AFDCBD96125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DD5B9740-4DFB-415E-8AEA-5FD72AC9461B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37FFCF61-298C-46D7-B8BB-9071D9772841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988A5B33-61D6-4D35-B71E-88EA3E7D7E4C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132B27F8-C98D-48C3-8E7C-F035285A797D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A63E277F-BA7E-449B-AAD2-42FFD9285B51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10AF24F2-915C-4D6B-8603-D0E26B3EDD25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47B7F9CF-819C-4408-8888-6A62F83613D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B8681487-421E-4004-B0B3-EDF47FBAE50D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F1E9BD7D-FC3F-4ABC-BED4-5A6C1734ED84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A6F9ED06-E641-427C-BF75-49A8D98FAA37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5B92A2C6-A006-4403-AC2B-8FC08BBBB5AA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87FB07D9-8BC9-4646-8ACE-F1DF9A358E8A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E335A4D1-FAD4-42F4-8690-0A4BC50752B2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1F5602E7-0D57-408B-8887-D4ECDBAC725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2B572EB7-8481-4875-888F-4BB5BAB66111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61CF7AD-BB0A-4249-BE2F-1FDA11C28A17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749B71A3-946F-4DF8-A274-D3A4742EEF2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269591E3-FE9B-465F-AF66-A448C07BC7C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F4B34E60-AE54-40D4-8FD1-3C5BFB40914F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23983A70-F7D0-4A46-9D9B-DDBA484C1C7B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62D6E9E4-0D41-45F2-A016-9152BDF7C892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D71903A4-38C1-4CA6-8116-0E4F9A22C59B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E21D383C-F340-4297-B534-8292E3676CC3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07F065F3-96CB-4A78-B8AB-3A3E361041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74C32EF-9A08-4922-BA16-6697195F4B2E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A41817D-367D-49E4-B1B6-F0C4484F8C05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C86C19D-B47E-4897-A534-5B98C4EA5F12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3" name="Copyright">
            <a:extLst>
              <a:ext uri="{FF2B5EF4-FFF2-40B4-BE49-F238E27FC236}">
                <a16:creationId xmlns:a16="http://schemas.microsoft.com/office/drawing/2014/main" id="{2AEA8751-7E7D-BF3B-C313-895910482AE6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085061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29797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39624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60BF1E3-5E80-4E3D-89D0-11687B6A8B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32776931-9B24-4679-A8BF-E1DD468CFBBF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3EBE19C6-6706-4020-B807-54DF3ECF59FF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3EE6E02C-9703-4824-8AA3-3CDBD4EC1718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8ABA6316-B48F-49DF-9A22-68C01666886D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FB1072FC-C2DD-4CD6-A63E-4E988CA996CF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82F424D9-AA02-4F74-9334-8D9AE6326055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23AB0E59-745E-49F7-830C-18ABF7E8F2D0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3D366C3A-6234-4E44-AEE6-98D2B1805FF4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7CA781DA-1130-4DB6-9EDE-A935D4655B6D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52B81FC3-CEE5-414B-9FD4-5B10D1C7C883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5EBB6538-5256-4320-A156-EB0FD69E2C7D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23CB3F74-BF5D-4A31-AA8F-CBAA2C1C8422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C5743329-6B34-4632-ABF7-633108E797AD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E38E3172-509D-423A-B643-494B27163B1F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4AFD6F84-8D68-4CCC-AFCA-14B99E1A394B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9ACF6AD2-4F54-4458-87B5-0B0DA1AB747F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0E7816D-EC14-4AE4-9A23-8F76EF6F7AFE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1A9EF7C5-3CC1-468E-A192-C1183161607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BB2CE8FE-562E-47BB-9FD8-BDDBE0121EC0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72EC50C4-8D1E-4589-BEC1-7AAD3788D3C4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8D7010A8-A119-48ED-8D99-169FE3746E6B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EF9646EA-3B06-42B6-AC84-ABA5D60C6BBB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543379E8-0C40-4B7C-A445-ABE9A9FDFFAE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97B98FE3-4223-45D8-82FA-F2930D94F5DA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C0A6FD3C-7310-47DD-B5B5-A1CCF815651F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50A72BCC-ECFC-4333-9707-B888359228D4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06F84EDA-7592-4EC6-BAB5-FC62B3471BD6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D70A624A-EF1A-4617-BDA0-2ACE1038D0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577C9026-EBF0-4535-8114-4522D7E78EB2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CB68E85B-C7A0-4A3F-8E11-6353516F93B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0DEBCE2-1A3B-4A23-AAAA-A3048CA6223B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2" name="Copyright">
            <a:extLst>
              <a:ext uri="{FF2B5EF4-FFF2-40B4-BE49-F238E27FC236}">
                <a16:creationId xmlns:a16="http://schemas.microsoft.com/office/drawing/2014/main" id="{4975883C-2821-5D8E-A704-63EE6A5BDAA3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679581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84352" y="1435100"/>
            <a:ext cx="11021707" cy="161274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75150824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543" y="1434370"/>
            <a:ext cx="11021389" cy="1612749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04074678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48">
            <a:extLst>
              <a:ext uri="{FF2B5EF4-FFF2-40B4-BE49-F238E27FC236}">
                <a16:creationId xmlns:a16="http://schemas.microsoft.com/office/drawing/2014/main" id="{626282E5-6B7A-401D-BB1C-7F027256E99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358731" y="-203200"/>
            <a:ext cx="5780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l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A3A3A3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ELT layou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84353" y="1435100"/>
            <a:ext cx="5213120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391352" y="1435100"/>
            <a:ext cx="5221059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7502610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8416" y="457200"/>
            <a:ext cx="11021389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2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398837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44141188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0325519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/>
          <p:cNvSpPr>
            <a:spLocks noGrp="1"/>
          </p:cNvSpPr>
          <p:nvPr>
            <p:ph type="title"/>
          </p:nvPr>
        </p:nvSpPr>
        <p:spPr>
          <a:xfrm>
            <a:off x="584353" y="457200"/>
            <a:ext cx="5509853" cy="372410"/>
          </a:xfrm>
        </p:spPr>
        <p:txBody>
          <a:bodyPr tIns="64008"/>
          <a:lstStyle>
            <a:lvl1pPr>
              <a:defRPr sz="2000" spc="0">
                <a:latin typeface="72 Bold" panose="020B0803030000000003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759740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cover with image in anvil shape">
    <p:bg>
      <p:bgPr>
        <a:solidFill>
          <a:srgbClr val="97DD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CF15634C-E3A9-CDE6-5F8E-35B41DFE2B5D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D1EFFF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29E6C33-847C-5792-E2BD-5963C662EC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5529704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D2BFABF1-DD81-F2D4-FD65-DBCD6636029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69496" y="2029240"/>
            <a:ext cx="5711687" cy="2828844"/>
          </a:xfrm>
          <a:custGeom>
            <a:avLst/>
            <a:gdLst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5453062 w 5453062"/>
              <a:gd name="connsiteY2" fmla="*/ 2700337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  <a:gd name="connsiteX0" fmla="*/ 0 w 5453062"/>
              <a:gd name="connsiteY0" fmla="*/ 0 h 2758526"/>
              <a:gd name="connsiteX1" fmla="*/ 5453062 w 5453062"/>
              <a:gd name="connsiteY1" fmla="*/ 0 h 2758526"/>
              <a:gd name="connsiteX2" fmla="*/ 2751426 w 5453062"/>
              <a:gd name="connsiteY2" fmla="*/ 2758526 h 2758526"/>
              <a:gd name="connsiteX3" fmla="*/ 0 w 5453062"/>
              <a:gd name="connsiteY3" fmla="*/ 2700337 h 2758526"/>
              <a:gd name="connsiteX4" fmla="*/ 0 w 5453062"/>
              <a:gd name="connsiteY4" fmla="*/ 0 h 2758526"/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2726487 w 5453062"/>
              <a:gd name="connsiteY2" fmla="*/ 2700336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53062" h="2700337">
                <a:moveTo>
                  <a:pt x="0" y="0"/>
                </a:moveTo>
                <a:lnTo>
                  <a:pt x="5453062" y="0"/>
                </a:lnTo>
                <a:lnTo>
                  <a:pt x="2726487" y="2700336"/>
                </a:lnTo>
                <a:lnTo>
                  <a:pt x="0" y="2700337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 anchorCtr="0"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         Click to add image</a:t>
            </a:r>
          </a:p>
        </p:txBody>
      </p:sp>
      <p:sp>
        <p:nvSpPr>
          <p:cNvPr id="4" name="Classification-Dynamic" descr="{&quot;templafy&quot;:{&quot;id&quot;:&quot;aa57b900-42ee-45e2-901d-a9c467b9898a&quot;}}">
            <a:extLst>
              <a:ext uri="{FF2B5EF4-FFF2-40B4-BE49-F238E27FC236}">
                <a16:creationId xmlns:a16="http://schemas.microsoft.com/office/drawing/2014/main" id="{13EDB9F6-FBDA-8ED8-A84B-244CC53CFF9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  <p:pic>
        <p:nvPicPr>
          <p:cNvPr id="866333957" name="LogoBlack-Dynamic" descr="{&quot;templafy&quot;:{&quot;id&quot;:&quot;690c104f-7e65-48cd-94b6-5b4d27d0d6fb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49978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41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016203"/>
            <a:ext cx="4159445" cy="110799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3" y="3535540"/>
            <a:ext cx="4163509" cy="338554"/>
          </a:xfrm>
        </p:spPr>
        <p:txBody>
          <a:bodyPr/>
          <a:lstStyle>
            <a:lvl1pPr marL="0" indent="0">
              <a:buNone/>
              <a:defRPr sz="2200">
                <a:latin typeface="72 Brand" panose="020B0504030603020204" pitchFamily="34" charset="0"/>
                <a:cs typeface="Arial" panose="020B0604020202020204" pitchFamily="34" charset="0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63D4830-906E-4A43-9D2A-52DD3EC5546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FAD7FA30-0519-4AAE-B091-0E3F15AE3998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45811061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873415"/>
            <a:ext cx="4161033" cy="1107996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B0212E1-7C82-4FC0-B5BE-AE8FFF174FE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894A1B2-C9F3-419A-BFFA-1C2873A500FB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7405928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1247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27504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96051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671364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4464359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187098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 descr="This layout should only be used for developer code. The font used is a monospace font which is ideal for showing code."/>
          <p:cNvSpPr>
            <a:spLocks noGrp="1"/>
          </p:cNvSpPr>
          <p:nvPr>
            <p:ph type="body" sz="quarter" idx="10"/>
          </p:nvPr>
        </p:nvSpPr>
        <p:spPr>
          <a:xfrm>
            <a:off x="588416" y="1436689"/>
            <a:ext cx="11021389" cy="1908215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55927154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act information">
            <a:extLst>
              <a:ext uri="{FF2B5EF4-FFF2-40B4-BE49-F238E27FC236}">
                <a16:creationId xmlns:a16="http://schemas.microsoft.com/office/drawing/2014/main" id="{7113F415-65C4-4ED8-81EB-71635591D42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4352" y="2905487"/>
            <a:ext cx="5514824" cy="250101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1200"/>
              </a:spcAft>
              <a:buNone/>
              <a:defRPr sz="16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  <a:lvl2pPr marL="0" indent="0">
              <a:spcBef>
                <a:spcPts val="0"/>
              </a:spcBef>
              <a:buNone/>
              <a:defRPr sz="1600" b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</a:defRPr>
            </a:lvl2pPr>
          </a:lstStyle>
          <a:p>
            <a:r>
              <a:rPr lang="en-US"/>
              <a:t>Contact information:</a:t>
            </a:r>
          </a:p>
          <a:p>
            <a:pPr lvl="1"/>
            <a:r>
              <a:rPr lang="en-US"/>
              <a:t>First name Last name</a:t>
            </a:r>
          </a:p>
          <a:p>
            <a:pPr lvl="1"/>
            <a:r>
              <a:rPr lang="en-US"/>
              <a:t>Title</a:t>
            </a:r>
          </a:p>
          <a:p>
            <a:pPr lvl="1"/>
            <a:r>
              <a:rPr lang="en-US"/>
              <a:t>LinkedIn name</a:t>
            </a:r>
          </a:p>
          <a:p>
            <a:pPr lvl="1"/>
            <a:r>
              <a:rPr lang="en-US"/>
              <a:t>Twitter handle</a:t>
            </a:r>
          </a:p>
        </p:txBody>
      </p:sp>
      <p:sp>
        <p:nvSpPr>
          <p:cNvPr id="8" name="Thank you">
            <a:extLst>
              <a:ext uri="{FF2B5EF4-FFF2-40B4-BE49-F238E27FC236}">
                <a16:creationId xmlns:a16="http://schemas.microsoft.com/office/drawing/2014/main" id="{72621CA0-04F6-4A2B-9513-29476834698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4352" y="1765299"/>
            <a:ext cx="5514824" cy="631660"/>
          </a:xfrm>
        </p:spPr>
        <p:txBody>
          <a:bodyPr anchor="t" anchorCtr="0">
            <a:noAutofit/>
          </a:bodyPr>
          <a:lstStyle>
            <a:lvl1pPr>
              <a:defRPr sz="36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Thank you.</a:t>
            </a:r>
            <a:endParaRPr lang="de-DE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56BF64F-D8F7-49F6-8ED0-542D942CDC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sp>
        <p:nvSpPr>
          <p:cNvPr id="6" name="Copyright Placeholder" descr="{&quot;templafy&quot;:{&quot;id&quot;:&quot;ba9fff8e-a26f-4604-9418-39eec7243848&quot;}}">
            <a:extLst>
              <a:ext uri="{FF2B5EF4-FFF2-40B4-BE49-F238E27FC236}">
                <a16:creationId xmlns:a16="http://schemas.microsoft.com/office/drawing/2014/main" id="{2104F1F6-DC9C-4268-A890-004FD02FCB52}"/>
              </a:ext>
            </a:extLst>
          </p:cNvPr>
          <p:cNvSpPr txBox="1">
            <a:spLocks/>
          </p:cNvSpPr>
          <p:nvPr userDrawn="1"/>
        </p:nvSpPr>
        <p:spPr>
          <a:xfrm>
            <a:off x="585019" y="6536751"/>
            <a:ext cx="10158245" cy="1384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8558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0070F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© 2023 SAP SE or an SAP affiliate company. All rights reserved. See Legal Notice on www.sap.com/legal-notice for use terms, disclaimers, disclosures, or restrictions related to SAP Materials for general audiences.</a:t>
            </a:r>
          </a:p>
        </p:txBody>
      </p:sp>
    </p:spTree>
    <p:extLst>
      <p:ext uri="{BB962C8B-B14F-4D97-AF65-F5344CB8AC3E}">
        <p14:creationId xmlns:p14="http://schemas.microsoft.com/office/powerpoint/2010/main" val="13812770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Image or Illustr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F6B4F408-95BC-730E-4114-45641ED46491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288000" y="4024430"/>
            <a:ext cx="10899174" cy="997196"/>
          </a:xfr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de-DE" sz="3600" b="0" i="0" dirty="0">
                <a:latin typeface="72 Brand Medium" panose="020B05040306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FA78832-C268-4EC5-BB82-7F9D7F5B51B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12195175" cy="3430800"/>
          </a:xfrm>
        </p:spPr>
        <p:txBody>
          <a:bodyPr anchor="ctr" anchorCtr="0"/>
          <a:lstStyle>
            <a:lvl1pPr marL="0" marR="0" indent="0" algn="ctr" defTabSz="108855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lvl1pPr>
          </a:lstStyle>
          <a:p>
            <a:pPr marL="0" marR="0" lvl="0" indent="0" algn="ctr" defTabSz="108855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pic>
        <p:nvPicPr>
          <p:cNvPr id="1675361044" name="LogoBlue-Dynamic" descr="{&quot;templafy&quot;:{&quot;id&quot;:&quot;9dd02216-58b9-48cc-95b4-a4fb4fb97416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6218600"/>
            <a:ext cx="727192" cy="360000"/>
          </a:xfrm>
          <a:prstGeom prst="rect">
            <a:avLst/>
          </a:prstGeom>
        </p:spPr>
      </p:pic>
      <p:sp>
        <p:nvSpPr>
          <p:cNvPr id="9" name="Classification-Dynamic" descr="{&quot;templafy&quot;:{&quot;id&quot;:&quot;17904262-8e98-4143-ba28-5ffff2b9dc57&quot;}}">
            <a:extLst>
              <a:ext uri="{FF2B5EF4-FFF2-40B4-BE49-F238E27FC236}">
                <a16:creationId xmlns:a16="http://schemas.microsoft.com/office/drawing/2014/main" id="{CE0C2033-6FDF-7DD6-E25C-C03296FDAD00}"/>
              </a:ext>
            </a:extLst>
          </p:cNvPr>
          <p:cNvSpPr txBox="1"/>
          <p:nvPr userDrawn="1"/>
        </p:nvSpPr>
        <p:spPr>
          <a:xfrm>
            <a:off x="282575" y="5724000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1838505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505">
          <p15:clr>
            <a:srgbClr val="FBAE40"/>
          </p15:clr>
        </p15:guide>
        <p15:guide id="2" orient="horz" pos="4144">
          <p15:clr>
            <a:srgbClr val="FBAE40"/>
          </p15:clr>
        </p15:guide>
        <p15:guide id="3" orient="horz" pos="2162">
          <p15:clr>
            <a:srgbClr val="FBAE40"/>
          </p15:clr>
        </p15:guide>
        <p15:guide id="4" pos="181">
          <p15:clr>
            <a:srgbClr val="FBAE40"/>
          </p15:clr>
        </p15:guide>
        <p15:guide id="5" orient="horz" pos="2534">
          <p15:clr>
            <a:srgbClr val="FBAE40"/>
          </p15:clr>
        </p15:guide>
        <p15:guide id="6" orient="horz" pos="3164">
          <p15:clr>
            <a:srgbClr val="FBAE40"/>
          </p15:clr>
        </p15:guide>
        <p15:guide id="7" orient="horz" pos="3232">
          <p15:clr>
            <a:srgbClr val="FBAE40"/>
          </p15:clr>
        </p15:guide>
        <p15:guide id="8" orient="horz" pos="3504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solidFill>
                  <a:schemeClr val="tx1"/>
                </a:solidFill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 bwMode="white">
          <a:xfrm>
            <a:off x="584352" y="1436689"/>
            <a:ext cx="11021707" cy="2215991"/>
          </a:xfrm>
        </p:spPr>
        <p:txBody>
          <a:bodyPr/>
          <a:lstStyle>
            <a:lvl1pPr>
              <a:defRPr sz="3600">
                <a:latin typeface="72" panose="020B0503030000000003" pitchFamily="34" charset="0"/>
                <a:cs typeface="72" panose="020B0503030000000003" pitchFamily="34" charset="0"/>
              </a:defRPr>
            </a:lvl1pPr>
            <a:lvl2pPr>
              <a:defRPr sz="2800">
                <a:latin typeface="72" panose="020B0503030000000003" pitchFamily="34" charset="0"/>
                <a:cs typeface="72" panose="020B0503030000000003" pitchFamily="34" charset="0"/>
              </a:defRPr>
            </a:lvl2pPr>
            <a:lvl3pPr>
              <a:defRPr sz="2400">
                <a:latin typeface="72" panose="020B0503030000000003" pitchFamily="34" charset="0"/>
                <a:cs typeface="72" panose="020B0503030000000003" pitchFamily="34" charset="0"/>
              </a:defRPr>
            </a:lvl3pPr>
            <a:lvl4pPr>
              <a:defRPr sz="2000">
                <a:latin typeface="72" panose="020B0503030000000003" pitchFamily="34" charset="0"/>
                <a:cs typeface="72" panose="020B0503030000000003" pitchFamily="34" charset="0"/>
              </a:defRPr>
            </a:lvl4pPr>
            <a:lvl5pPr>
              <a:defRPr sz="1800">
                <a:latin typeface="72" panose="020B0503030000000003" pitchFamily="34" charset="0"/>
                <a:cs typeface="72" panose="020B05030300000000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/>
          </p:nvPr>
        </p:nvSpPr>
        <p:spPr>
          <a:xfrm>
            <a:off x="2" y="6269039"/>
            <a:ext cx="12195176" cy="588963"/>
          </a:xfrm>
          <a:prstGeom prst="rect">
            <a:avLst/>
          </a:prstGeom>
          <a:solidFill>
            <a:srgbClr val="FFFF99"/>
          </a:solidFill>
        </p:spPr>
        <p:txBody>
          <a:bodyPr lIns="155457" tIns="77729" rIns="155457" bIns="45720" anchor="b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solidFill>
                  <a:srgbClr val="000000"/>
                </a:solidFill>
                <a:effectLst/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71544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38941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48768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08A9BCBC-5BBF-4E5D-89CA-FE1F19EA8A6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0" y="0"/>
            <a:ext cx="12195175" cy="3426192"/>
          </a:xfrm>
          <a:blipFill>
            <a:blip r:embed="rId2"/>
            <a:stretch>
              <a:fillRect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D7C6100-A398-4EE7-94CC-C67D14D1DF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0E079EBE-5B45-4D74-948C-D1D11FEF557D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5FD9E93-11C1-45CE-8416-3F93AF600702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F75A8FAA-9235-4B84-941E-D3A4C0BE5AE6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DF0A577D-9F60-4D0E-90A8-4AFDCBD96125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DD5B9740-4DFB-415E-8AEA-5FD72AC9461B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37FFCF61-298C-46D7-B8BB-9071D9772841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988A5B33-61D6-4D35-B71E-88EA3E7D7E4C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132B27F8-C98D-48C3-8E7C-F035285A797D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A63E277F-BA7E-449B-AAD2-42FFD9285B51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10AF24F2-915C-4D6B-8603-D0E26B3EDD25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47B7F9CF-819C-4408-8888-6A62F83613D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B8681487-421E-4004-B0B3-EDF47FBAE50D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F1E9BD7D-FC3F-4ABC-BED4-5A6C1734ED84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A6F9ED06-E641-427C-BF75-49A8D98FAA37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5B92A2C6-A006-4403-AC2B-8FC08BBBB5AA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87FB07D9-8BC9-4646-8ACE-F1DF9A358E8A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E335A4D1-FAD4-42F4-8690-0A4BC50752B2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1F5602E7-0D57-408B-8887-D4ECDBAC725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2B572EB7-8481-4875-888F-4BB5BAB66111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61CF7AD-BB0A-4249-BE2F-1FDA11C28A17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749B71A3-946F-4DF8-A274-D3A4742EEF2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269591E3-FE9B-465F-AF66-A448C07BC7C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F4B34E60-AE54-40D4-8FD1-3C5BFB40914F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23983A70-F7D0-4A46-9D9B-DDBA484C1C7B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62D6E9E4-0D41-45F2-A016-9152BDF7C892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D71903A4-38C1-4CA6-8116-0E4F9A22C59B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E21D383C-F340-4297-B534-8292E3676CC3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07F065F3-96CB-4A78-B8AB-3A3E361041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74C32EF-9A08-4922-BA16-6697195F4B2E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A41817D-367D-49E4-B1B6-F0C4484F8C05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C86C19D-B47E-4897-A534-5B98C4EA5F12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3" name="Copyright">
            <a:extLst>
              <a:ext uri="{FF2B5EF4-FFF2-40B4-BE49-F238E27FC236}">
                <a16:creationId xmlns:a16="http://schemas.microsoft.com/office/drawing/2014/main" id="{2AEA8751-7E7D-BF3B-C313-895910482AE6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79815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29797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39624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60BF1E3-5E80-4E3D-89D0-11687B6A8B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32776931-9B24-4679-A8BF-E1DD468CFBBF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3EBE19C6-6706-4020-B807-54DF3ECF59FF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3EE6E02C-9703-4824-8AA3-3CDBD4EC1718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8ABA6316-B48F-49DF-9A22-68C01666886D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FB1072FC-C2DD-4CD6-A63E-4E988CA996CF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82F424D9-AA02-4F74-9334-8D9AE6326055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23AB0E59-745E-49F7-830C-18ABF7E8F2D0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3D366C3A-6234-4E44-AEE6-98D2B1805FF4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7CA781DA-1130-4DB6-9EDE-A935D4655B6D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52B81FC3-CEE5-414B-9FD4-5B10D1C7C883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5EBB6538-5256-4320-A156-EB0FD69E2C7D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23CB3F74-BF5D-4A31-AA8F-CBAA2C1C8422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C5743329-6B34-4632-ABF7-633108E797AD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E38E3172-509D-423A-B643-494B27163B1F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4AFD6F84-8D68-4CCC-AFCA-14B99E1A394B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9ACF6AD2-4F54-4458-87B5-0B0DA1AB747F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0E7816D-EC14-4AE4-9A23-8F76EF6F7AFE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1A9EF7C5-3CC1-468E-A192-C1183161607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BB2CE8FE-562E-47BB-9FD8-BDDBE0121EC0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72EC50C4-8D1E-4589-BEC1-7AAD3788D3C4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8D7010A8-A119-48ED-8D99-169FE3746E6B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EF9646EA-3B06-42B6-AC84-ABA5D60C6BBB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543379E8-0C40-4B7C-A445-ABE9A9FDFFAE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97B98FE3-4223-45D8-82FA-F2930D94F5DA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C0A6FD3C-7310-47DD-B5B5-A1CCF815651F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50A72BCC-ECFC-4333-9707-B888359228D4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06F84EDA-7592-4EC6-BAB5-FC62B3471BD6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D70A624A-EF1A-4617-BDA0-2ACE1038D0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577C9026-EBF0-4535-8114-4522D7E78EB2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CB68E85B-C7A0-4A3F-8E11-6353516F93B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0DEBCE2-1A3B-4A23-AAAA-A3048CA6223B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2" name="Copyright">
            <a:extLst>
              <a:ext uri="{FF2B5EF4-FFF2-40B4-BE49-F238E27FC236}">
                <a16:creationId xmlns:a16="http://schemas.microsoft.com/office/drawing/2014/main" id="{4975883C-2821-5D8E-A704-63EE6A5BDAA3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283203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84352" y="1435100"/>
            <a:ext cx="11021707" cy="161274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56247613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543" y="1434370"/>
            <a:ext cx="11021389" cy="1612749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4348318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48">
            <a:extLst>
              <a:ext uri="{FF2B5EF4-FFF2-40B4-BE49-F238E27FC236}">
                <a16:creationId xmlns:a16="http://schemas.microsoft.com/office/drawing/2014/main" id="{626282E5-6B7A-401D-BB1C-7F027256E99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358731" y="-203200"/>
            <a:ext cx="5780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l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A3A3A3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ELT layou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84353" y="1435100"/>
            <a:ext cx="5213120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391352" y="1435100"/>
            <a:ext cx="5221059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00382182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8416" y="457200"/>
            <a:ext cx="11021389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2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398837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01919890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39744301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/>
          <p:cNvSpPr>
            <a:spLocks noGrp="1"/>
          </p:cNvSpPr>
          <p:nvPr>
            <p:ph type="title"/>
          </p:nvPr>
        </p:nvSpPr>
        <p:spPr>
          <a:xfrm>
            <a:off x="584353" y="457200"/>
            <a:ext cx="5509853" cy="372410"/>
          </a:xfrm>
        </p:spPr>
        <p:txBody>
          <a:bodyPr tIns="64008"/>
          <a:lstStyle>
            <a:lvl1pPr>
              <a:defRPr sz="2000" spc="0">
                <a:latin typeface="72 Bold" panose="020B0803030000000003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79881269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016203"/>
            <a:ext cx="4159445" cy="110799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3" y="3535540"/>
            <a:ext cx="4163509" cy="338554"/>
          </a:xfrm>
        </p:spPr>
        <p:txBody>
          <a:bodyPr/>
          <a:lstStyle>
            <a:lvl1pPr marL="0" indent="0">
              <a:buNone/>
              <a:defRPr sz="2200">
                <a:latin typeface="72 Brand" panose="020B0504030603020204" pitchFamily="34" charset="0"/>
                <a:cs typeface="Arial" panose="020B0604020202020204" pitchFamily="34" charset="0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63D4830-906E-4A43-9D2A-52DD3EC5546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FAD7FA30-0519-4AAE-B091-0E3F15AE3998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9452336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green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615A14AB-7A75-B899-CDA1-E311E201A837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Anvil" descr="preencoded.png">
            <a:extLst>
              <a:ext uri="{FF2B5EF4-FFF2-40B4-BE49-F238E27FC236}">
                <a16:creationId xmlns:a16="http://schemas.microsoft.com/office/drawing/2014/main" id="{CAD3135A-95A0-606F-5A25-35CF890B232D}"/>
              </a:ext>
            </a:extLst>
          </p:cNvPr>
          <p:cNvSpPr/>
          <p:nvPr/>
        </p:nvSpPr>
        <p:spPr>
          <a:xfrm>
            <a:off x="5072441" y="1275473"/>
            <a:ext cx="6069341" cy="2991727"/>
          </a:xfrm>
          <a:custGeom>
            <a:avLst/>
            <a:gdLst>
              <a:gd name="connsiteX0" fmla="*/ 0 w 6069341"/>
              <a:gd name="connsiteY0" fmla="*/ 0 h 2991727"/>
              <a:gd name="connsiteX1" fmla="*/ 0 w 6069341"/>
              <a:gd name="connsiteY1" fmla="*/ 2991727 h 2991727"/>
              <a:gd name="connsiteX2" fmla="*/ 3084421 w 6069341"/>
              <a:gd name="connsiteY2" fmla="*/ 2991727 h 2991727"/>
              <a:gd name="connsiteX3" fmla="*/ 6069341 w 6069341"/>
              <a:gd name="connsiteY3" fmla="*/ 0 h 2991727"/>
              <a:gd name="connsiteX4" fmla="*/ 0 w 6069341"/>
              <a:gd name="connsiteY4" fmla="*/ 0 h 2991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9341" h="2991727">
                <a:moveTo>
                  <a:pt x="0" y="0"/>
                </a:moveTo>
                <a:lnTo>
                  <a:pt x="0" y="2991727"/>
                </a:lnTo>
                <a:lnTo>
                  <a:pt x="3084421" y="2991727"/>
                </a:lnTo>
                <a:lnTo>
                  <a:pt x="6069341" y="0"/>
                </a:lnTo>
                <a:lnTo>
                  <a:pt x="0" y="0"/>
                </a:lnTo>
                <a:close/>
              </a:path>
            </a:pathLst>
          </a:custGeom>
          <a:solidFill>
            <a:srgbClr val="0070F2"/>
          </a:solidFill>
          <a:ln w="71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5658676" name="LogoBlue-Dynamic" descr="{&quot;templafy&quot;:{&quot;id&quot;:&quot;24dda641-0340-42fc-b199-54e3bbe1e6c5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11" name="Classification-Dynamic" descr="{&quot;templafy&quot;:{&quot;id&quot;:&quot;99d85a1f-5caa-4f35-b7df-eb9703c96eda&quot;}}">
            <a:extLst>
              <a:ext uri="{FF2B5EF4-FFF2-40B4-BE49-F238E27FC236}">
                <a16:creationId xmlns:a16="http://schemas.microsoft.com/office/drawing/2014/main" id="{62D91ACB-BD14-46CB-4B61-F4B072D877C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5547614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873415"/>
            <a:ext cx="4161033" cy="1107996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B0212E1-7C82-4FC0-B5BE-AE8FFF174FE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894A1B2-C9F3-419A-BFFA-1C2873A500FB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4344728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8386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23833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244676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228985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6152289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182144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 descr="This layout should only be used for developer code. The font used is a monospace font which is ideal for showing code."/>
          <p:cNvSpPr>
            <a:spLocks noGrp="1"/>
          </p:cNvSpPr>
          <p:nvPr>
            <p:ph type="body" sz="quarter" idx="10"/>
          </p:nvPr>
        </p:nvSpPr>
        <p:spPr>
          <a:xfrm>
            <a:off x="588416" y="1436689"/>
            <a:ext cx="11021389" cy="1908215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36726152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act information">
            <a:extLst>
              <a:ext uri="{FF2B5EF4-FFF2-40B4-BE49-F238E27FC236}">
                <a16:creationId xmlns:a16="http://schemas.microsoft.com/office/drawing/2014/main" id="{7113F415-65C4-4ED8-81EB-71635591D42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4352" y="2905487"/>
            <a:ext cx="5514824" cy="250101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1200"/>
              </a:spcAft>
              <a:buNone/>
              <a:defRPr sz="16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  <a:lvl2pPr marL="0" indent="0">
              <a:spcBef>
                <a:spcPts val="0"/>
              </a:spcBef>
              <a:buNone/>
              <a:defRPr sz="1600" b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</a:defRPr>
            </a:lvl2pPr>
          </a:lstStyle>
          <a:p>
            <a:r>
              <a:rPr lang="en-US"/>
              <a:t>Contact information:</a:t>
            </a:r>
          </a:p>
          <a:p>
            <a:pPr lvl="1"/>
            <a:r>
              <a:rPr lang="en-US"/>
              <a:t>First name Last name</a:t>
            </a:r>
          </a:p>
          <a:p>
            <a:pPr lvl="1"/>
            <a:r>
              <a:rPr lang="en-US"/>
              <a:t>Title</a:t>
            </a:r>
          </a:p>
          <a:p>
            <a:pPr lvl="1"/>
            <a:r>
              <a:rPr lang="en-US"/>
              <a:t>LinkedIn name</a:t>
            </a:r>
          </a:p>
          <a:p>
            <a:pPr lvl="1"/>
            <a:r>
              <a:rPr lang="en-US"/>
              <a:t>Twitter handle</a:t>
            </a:r>
          </a:p>
        </p:txBody>
      </p:sp>
      <p:sp>
        <p:nvSpPr>
          <p:cNvPr id="8" name="Thank you">
            <a:extLst>
              <a:ext uri="{FF2B5EF4-FFF2-40B4-BE49-F238E27FC236}">
                <a16:creationId xmlns:a16="http://schemas.microsoft.com/office/drawing/2014/main" id="{72621CA0-04F6-4A2B-9513-29476834698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4352" y="1765299"/>
            <a:ext cx="5514824" cy="631660"/>
          </a:xfrm>
        </p:spPr>
        <p:txBody>
          <a:bodyPr anchor="t" anchorCtr="0">
            <a:noAutofit/>
          </a:bodyPr>
          <a:lstStyle>
            <a:lvl1pPr>
              <a:defRPr sz="36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Thank you.</a:t>
            </a:r>
            <a:endParaRPr lang="de-DE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56BF64F-D8F7-49F6-8ED0-542D942CDC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sp>
        <p:nvSpPr>
          <p:cNvPr id="6" name="Copyright Placeholder" descr="{&quot;templafy&quot;:{&quot;id&quot;:&quot;ba9fff8e-a26f-4604-9418-39eec7243848&quot;}}">
            <a:extLst>
              <a:ext uri="{FF2B5EF4-FFF2-40B4-BE49-F238E27FC236}">
                <a16:creationId xmlns:a16="http://schemas.microsoft.com/office/drawing/2014/main" id="{2104F1F6-DC9C-4268-A890-004FD02FCB52}"/>
              </a:ext>
            </a:extLst>
          </p:cNvPr>
          <p:cNvSpPr txBox="1">
            <a:spLocks/>
          </p:cNvSpPr>
          <p:nvPr userDrawn="1"/>
        </p:nvSpPr>
        <p:spPr>
          <a:xfrm>
            <a:off x="585019" y="6536751"/>
            <a:ext cx="10158245" cy="1384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8558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0070F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© 2023 SAP SE or an SAP affiliate company. All rights reserved. See Legal Notice on www.sap.com/legal-notice for use terms, disclaimers, disclosures, or restrictions related to SAP Materials for general audiences.</a:t>
            </a:r>
          </a:p>
        </p:txBody>
      </p:sp>
    </p:spTree>
    <p:extLst>
      <p:ext uri="{BB962C8B-B14F-4D97-AF65-F5344CB8AC3E}">
        <p14:creationId xmlns:p14="http://schemas.microsoft.com/office/powerpoint/2010/main" val="35153216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solidFill>
                  <a:schemeClr val="tx1"/>
                </a:solidFill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 bwMode="white">
          <a:xfrm>
            <a:off x="584352" y="1436689"/>
            <a:ext cx="11021707" cy="2215991"/>
          </a:xfrm>
        </p:spPr>
        <p:txBody>
          <a:bodyPr/>
          <a:lstStyle>
            <a:lvl1pPr>
              <a:defRPr sz="3600">
                <a:latin typeface="72" panose="020B0503030000000003" pitchFamily="34" charset="0"/>
                <a:cs typeface="72" panose="020B0503030000000003" pitchFamily="34" charset="0"/>
              </a:defRPr>
            </a:lvl1pPr>
            <a:lvl2pPr>
              <a:defRPr sz="2800">
                <a:latin typeface="72" panose="020B0503030000000003" pitchFamily="34" charset="0"/>
                <a:cs typeface="72" panose="020B0503030000000003" pitchFamily="34" charset="0"/>
              </a:defRPr>
            </a:lvl2pPr>
            <a:lvl3pPr>
              <a:defRPr sz="2400">
                <a:latin typeface="72" panose="020B0503030000000003" pitchFamily="34" charset="0"/>
                <a:cs typeface="72" panose="020B0503030000000003" pitchFamily="34" charset="0"/>
              </a:defRPr>
            </a:lvl3pPr>
            <a:lvl4pPr>
              <a:defRPr sz="2000">
                <a:latin typeface="72" panose="020B0503030000000003" pitchFamily="34" charset="0"/>
                <a:cs typeface="72" panose="020B0503030000000003" pitchFamily="34" charset="0"/>
              </a:defRPr>
            </a:lvl4pPr>
            <a:lvl5pPr>
              <a:defRPr sz="1800">
                <a:latin typeface="72" panose="020B0503030000000003" pitchFamily="34" charset="0"/>
                <a:cs typeface="72" panose="020B05030300000000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/>
          </p:nvPr>
        </p:nvSpPr>
        <p:spPr>
          <a:xfrm>
            <a:off x="2" y="6269039"/>
            <a:ext cx="12195176" cy="588963"/>
          </a:xfrm>
          <a:prstGeom prst="rect">
            <a:avLst/>
          </a:prstGeom>
          <a:solidFill>
            <a:srgbClr val="FFFF99"/>
          </a:solidFill>
        </p:spPr>
        <p:txBody>
          <a:bodyPr lIns="155457" tIns="77729" rIns="155457" bIns="45720" anchor="b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solidFill>
                  <a:srgbClr val="000000"/>
                </a:solidFill>
                <a:effectLst/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497208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ckground">
            <a:extLst>
              <a:ext uri="{FF2B5EF4-FFF2-40B4-BE49-F238E27FC236}">
                <a16:creationId xmlns:a16="http://schemas.microsoft.com/office/drawing/2014/main" id="{581FAEF7-1ACD-83AC-7B42-761E6A30387F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A6E0FF">
              <a:alpha val="42715"/>
            </a:srgbClr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Anvil" descr="preencoded.png">
            <a:extLst>
              <a:ext uri="{FF2B5EF4-FFF2-40B4-BE49-F238E27FC236}">
                <a16:creationId xmlns:a16="http://schemas.microsoft.com/office/drawing/2014/main" id="{94093846-CC07-3993-CA62-86004F1C03F9}"/>
              </a:ext>
            </a:extLst>
          </p:cNvPr>
          <p:cNvSpPr/>
          <p:nvPr/>
        </p:nvSpPr>
        <p:spPr>
          <a:xfrm>
            <a:off x="2289865" y="1275473"/>
            <a:ext cx="8851917" cy="4363327"/>
          </a:xfrm>
          <a:custGeom>
            <a:avLst/>
            <a:gdLst>
              <a:gd name="connsiteX0" fmla="*/ 0 w 8851917"/>
              <a:gd name="connsiteY0" fmla="*/ 0 h 4363327"/>
              <a:gd name="connsiteX1" fmla="*/ 0 w 8851917"/>
              <a:gd name="connsiteY1" fmla="*/ 4363327 h 4363327"/>
              <a:gd name="connsiteX2" fmla="*/ 4498517 w 8851917"/>
              <a:gd name="connsiteY2" fmla="*/ 4363327 h 4363327"/>
              <a:gd name="connsiteX3" fmla="*/ 8851917 w 8851917"/>
              <a:gd name="connsiteY3" fmla="*/ 0 h 4363327"/>
              <a:gd name="connsiteX4" fmla="*/ 0 w 8851917"/>
              <a:gd name="connsiteY4" fmla="*/ 0 h 436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51917" h="4363327">
                <a:moveTo>
                  <a:pt x="0" y="0"/>
                </a:moveTo>
                <a:lnTo>
                  <a:pt x="0" y="4363327"/>
                </a:lnTo>
                <a:lnTo>
                  <a:pt x="4498517" y="4363327"/>
                </a:lnTo>
                <a:lnTo>
                  <a:pt x="8851917" y="0"/>
                </a:lnTo>
                <a:lnTo>
                  <a:pt x="0" y="0"/>
                </a:lnTo>
                <a:close/>
              </a:path>
            </a:pathLst>
          </a:custGeom>
          <a:solidFill>
            <a:srgbClr val="A6E0FF"/>
          </a:solidFill>
          <a:ln w="1523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098B98B-8FDE-5B19-2FC7-97058A6B53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92992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990423110" name="LogoBlack-Dynamic" descr="{&quot;templafy&quot;:{&quot;id&quot;:&quot;787d00a1-4cac-4b81-b637-a99274574ec4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ad4994d4-76c3-4624-9265-4ebe8c04ee95&quot;}}">
            <a:extLst>
              <a:ext uri="{FF2B5EF4-FFF2-40B4-BE49-F238E27FC236}">
                <a16:creationId xmlns:a16="http://schemas.microsoft.com/office/drawing/2014/main" id="{D417CEF6-1FCD-75B6-FA13-C583ECCE7BE5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3159755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blue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369E6551-269A-D225-4CF8-EC6D532E4902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441288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E73D104-EF7E-A0AB-2243-882D65E686E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75363" y="0"/>
            <a:ext cx="6119812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1271884541" name="LogoBlue-Dynamic" descr="{&quot;templafy&quot;:{&quot;id&quot;:&quot;e1ff4155-3db1-4bbb-85a7-437eca614c8d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6" name="Classification-Dynamic" descr="{&quot;templafy&quot;:{&quot;id&quot;:&quot;1400d254-c5b0-49a9-bbba-c97223cc9af9&quot;}}">
            <a:extLst>
              <a:ext uri="{FF2B5EF4-FFF2-40B4-BE49-F238E27FC236}">
                <a16:creationId xmlns:a16="http://schemas.microsoft.com/office/drawing/2014/main" id="{870EB466-B92B-9D4D-974E-A49C0F424152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871303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704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nk cover with anvil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67B704E-206C-83F1-209C-8AC5AA593D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3375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7B704E-206C-83F1-209C-8AC5AA593D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">
            <a:extLst>
              <a:ext uri="{FF2B5EF4-FFF2-40B4-BE49-F238E27FC236}">
                <a16:creationId xmlns:a16="http://schemas.microsoft.com/office/drawing/2014/main" id="{37E79459-E5C5-5E87-E38B-80855D38E462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00144A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846E736-979F-0D4B-6D59-D0EA5D367E1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0936" y="1216760"/>
            <a:ext cx="8887864" cy="4424483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10900800" cy="997196"/>
          </a:xfrm>
        </p:spPr>
        <p:txBody>
          <a:bodyPr vert="horz"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79869855" name="LogoWhite-Dynamic" descr="{&quot;templafy&quot;:{&quot;id&quot;:&quot;f311321f-6dec-468e-bf1d-41970cf5b78d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7" name="Classification-Dynamic" descr="{&quot;templafy&quot;:{&quot;id&quot;:&quot;34991d23-440a-47c2-bb45-be4011253002&quot;}}">
            <a:extLst>
              <a:ext uri="{FF2B5EF4-FFF2-40B4-BE49-F238E27FC236}">
                <a16:creationId xmlns:a16="http://schemas.microsoft.com/office/drawing/2014/main" id="{1D05DC80-84C9-9ECA-3B84-3577D8D8165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1737073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ngo cover with anvil an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07CC981-2E4E-11B1-C37B-1DDB5D3E50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1064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7CC981-2E4E-11B1-C37B-1DDB5D3E50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9" name="Rectangle 148">
            <a:extLst>
              <a:ext uri="{FF2B5EF4-FFF2-40B4-BE49-F238E27FC236}">
                <a16:creationId xmlns:a16="http://schemas.microsoft.com/office/drawing/2014/main" id="{3F9D113E-DB39-0CF2-578D-9B5D35C92F55}"/>
              </a:ext>
            </a:extLst>
          </p:cNvPr>
          <p:cNvSpPr/>
          <p:nvPr userDrawn="1"/>
        </p:nvSpPr>
        <p:spPr bwMode="gray">
          <a:xfrm>
            <a:off x="7102259" y="0"/>
            <a:ext cx="5092917" cy="6858000"/>
          </a:xfrm>
          <a:prstGeom prst="rect">
            <a:avLst/>
          </a:prstGeom>
          <a:solidFill>
            <a:srgbClr val="89D1FF"/>
          </a:solidFill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DD06AF2-2141-CEFD-4797-A6E50CC267FE}"/>
              </a:ext>
            </a:extLst>
          </p:cNvPr>
          <p:cNvSpPr/>
          <p:nvPr userDrawn="1"/>
        </p:nvSpPr>
        <p:spPr bwMode="gray">
          <a:xfrm>
            <a:off x="2" y="0"/>
            <a:ext cx="7226300" cy="6858000"/>
          </a:xfrm>
          <a:prstGeom prst="rect">
            <a:avLst/>
          </a:prstGeom>
          <a:solidFill>
            <a:srgbClr val="D1EFFF"/>
          </a:solidFill>
          <a:ln w="1342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6633305" cy="997196"/>
          </a:xfrm>
        </p:spPr>
        <p:txBody>
          <a:bodyPr vert="horz" anchor="b" anchorCtr="0"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482996304" name="LogoWhite-Dynamic" descr="{&quot;templafy&quot;:{&quot;id&quot;:&quot;a0444597-b454-4b66-be2a-62ce43b21692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8" name="Classification-Dynamic" descr="{&quot;templafy&quot;:{&quot;id&quot;:&quot;a16dfd42-0de3-46c7-a276-e906e46a8fb7&quot;}}">
            <a:extLst>
              <a:ext uri="{FF2B5EF4-FFF2-40B4-BE49-F238E27FC236}">
                <a16:creationId xmlns:a16="http://schemas.microsoft.com/office/drawing/2014/main" id="{F1333C1B-AD40-D53A-5A1E-EFB8C6390D4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36517095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41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cover with image in anvil shape">
    <p:bg>
      <p:bgPr>
        <a:solidFill>
          <a:srgbClr val="97DD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CF15634C-E3A9-CDE6-5F8E-35B41DFE2B5D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D1EFFF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29E6C33-847C-5792-E2BD-5963C662EC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5529704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D2BFABF1-DD81-F2D4-FD65-DBCD6636029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69496" y="2029240"/>
            <a:ext cx="5711687" cy="2828844"/>
          </a:xfrm>
          <a:custGeom>
            <a:avLst/>
            <a:gdLst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5453062 w 5453062"/>
              <a:gd name="connsiteY2" fmla="*/ 2700337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  <a:gd name="connsiteX0" fmla="*/ 0 w 5453062"/>
              <a:gd name="connsiteY0" fmla="*/ 0 h 2758526"/>
              <a:gd name="connsiteX1" fmla="*/ 5453062 w 5453062"/>
              <a:gd name="connsiteY1" fmla="*/ 0 h 2758526"/>
              <a:gd name="connsiteX2" fmla="*/ 2751426 w 5453062"/>
              <a:gd name="connsiteY2" fmla="*/ 2758526 h 2758526"/>
              <a:gd name="connsiteX3" fmla="*/ 0 w 5453062"/>
              <a:gd name="connsiteY3" fmla="*/ 2700337 h 2758526"/>
              <a:gd name="connsiteX4" fmla="*/ 0 w 5453062"/>
              <a:gd name="connsiteY4" fmla="*/ 0 h 2758526"/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2726487 w 5453062"/>
              <a:gd name="connsiteY2" fmla="*/ 2700336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53062" h="2700337">
                <a:moveTo>
                  <a:pt x="0" y="0"/>
                </a:moveTo>
                <a:lnTo>
                  <a:pt x="5453062" y="0"/>
                </a:lnTo>
                <a:lnTo>
                  <a:pt x="2726487" y="2700336"/>
                </a:lnTo>
                <a:lnTo>
                  <a:pt x="0" y="2700337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 anchorCtr="0"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         Click to add image</a:t>
            </a:r>
          </a:p>
        </p:txBody>
      </p:sp>
      <p:sp>
        <p:nvSpPr>
          <p:cNvPr id="4" name="Classification-Dynamic" descr="{&quot;templafy&quot;:{&quot;id&quot;:&quot;aa57b900-42ee-45e2-901d-a9c467b9898a&quot;}}">
            <a:extLst>
              <a:ext uri="{FF2B5EF4-FFF2-40B4-BE49-F238E27FC236}">
                <a16:creationId xmlns:a16="http://schemas.microsoft.com/office/drawing/2014/main" id="{13EDB9F6-FBDA-8ED8-A84B-244CC53CFF9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  <p:pic>
        <p:nvPicPr>
          <p:cNvPr id="866333957" name="LogoBlack-Dynamic" descr="{&quot;templafy&quot;:{&quot;id&quot;:&quot;690c104f-7e65-48cd-94b6-5b4d27d0d6fb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81790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41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Image or Illustr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F6B4F408-95BC-730E-4114-45641ED46491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288000" y="4024430"/>
            <a:ext cx="10899174" cy="997196"/>
          </a:xfr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de-DE" sz="3599" b="0" i="0" dirty="0">
                <a:latin typeface="72 Brand Medium" panose="020B05040306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FA78832-C268-4EC5-BB82-7F9D7F5B51B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12195175" cy="3430800"/>
          </a:xfrm>
        </p:spPr>
        <p:txBody>
          <a:bodyPr anchor="ctr" anchorCtr="0"/>
          <a:lstStyle>
            <a:lvl1pPr marL="0" marR="0" indent="0" algn="ctr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lvl1pPr>
          </a:lstStyle>
          <a:p>
            <a:pPr marL="0" marR="0" lvl="0" indent="0" algn="ctr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pic>
        <p:nvPicPr>
          <p:cNvPr id="1675361044" name="LogoBlue-Dynamic" descr="{&quot;templafy&quot;:{&quot;id&quot;:&quot;9dd02216-58b9-48cc-95b4-a4fb4fb97416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6218600"/>
            <a:ext cx="727192" cy="360000"/>
          </a:xfrm>
          <a:prstGeom prst="rect">
            <a:avLst/>
          </a:prstGeom>
        </p:spPr>
      </p:pic>
      <p:sp>
        <p:nvSpPr>
          <p:cNvPr id="9" name="Classification-Dynamic" descr="{&quot;templafy&quot;:{&quot;id&quot;:&quot;17904262-8e98-4143-ba28-5ffff2b9dc57&quot;}}">
            <a:extLst>
              <a:ext uri="{FF2B5EF4-FFF2-40B4-BE49-F238E27FC236}">
                <a16:creationId xmlns:a16="http://schemas.microsoft.com/office/drawing/2014/main" id="{CE0C2033-6FDF-7DD6-E25C-C03296FDAD00}"/>
              </a:ext>
            </a:extLst>
          </p:cNvPr>
          <p:cNvSpPr txBox="1"/>
          <p:nvPr userDrawn="1"/>
        </p:nvSpPr>
        <p:spPr>
          <a:xfrm>
            <a:off x="282575" y="5724000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5879973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505">
          <p15:clr>
            <a:srgbClr val="FBAE40"/>
          </p15:clr>
        </p15:guide>
        <p15:guide id="2" orient="horz" pos="4144">
          <p15:clr>
            <a:srgbClr val="FBAE40"/>
          </p15:clr>
        </p15:guide>
        <p15:guide id="3" orient="horz" pos="2162">
          <p15:clr>
            <a:srgbClr val="FBAE40"/>
          </p15:clr>
        </p15:guide>
        <p15:guide id="4" pos="181">
          <p15:clr>
            <a:srgbClr val="FBAE40"/>
          </p15:clr>
        </p15:guide>
        <p15:guide id="5" orient="horz" pos="2534">
          <p15:clr>
            <a:srgbClr val="FBAE40"/>
          </p15:clr>
        </p15:guide>
        <p15:guide id="6" orient="horz" pos="3164">
          <p15:clr>
            <a:srgbClr val="FBAE40"/>
          </p15:clr>
        </p15:guide>
        <p15:guide id="7" orient="horz" pos="3232">
          <p15:clr>
            <a:srgbClr val="FBAE40"/>
          </p15:clr>
        </p15:guide>
        <p15:guide id="8" orient="horz" pos="3504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green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615A14AB-7A75-B899-CDA1-E311E201A837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Anvil" descr="preencoded.png">
            <a:extLst>
              <a:ext uri="{FF2B5EF4-FFF2-40B4-BE49-F238E27FC236}">
                <a16:creationId xmlns:a16="http://schemas.microsoft.com/office/drawing/2014/main" id="{CAD3135A-95A0-606F-5A25-35CF890B232D}"/>
              </a:ext>
            </a:extLst>
          </p:cNvPr>
          <p:cNvSpPr/>
          <p:nvPr/>
        </p:nvSpPr>
        <p:spPr>
          <a:xfrm>
            <a:off x="5072442" y="1275475"/>
            <a:ext cx="6069341" cy="2991727"/>
          </a:xfrm>
          <a:custGeom>
            <a:avLst/>
            <a:gdLst>
              <a:gd name="connsiteX0" fmla="*/ 0 w 6069341"/>
              <a:gd name="connsiteY0" fmla="*/ 0 h 2991727"/>
              <a:gd name="connsiteX1" fmla="*/ 0 w 6069341"/>
              <a:gd name="connsiteY1" fmla="*/ 2991727 h 2991727"/>
              <a:gd name="connsiteX2" fmla="*/ 3084421 w 6069341"/>
              <a:gd name="connsiteY2" fmla="*/ 2991727 h 2991727"/>
              <a:gd name="connsiteX3" fmla="*/ 6069341 w 6069341"/>
              <a:gd name="connsiteY3" fmla="*/ 0 h 2991727"/>
              <a:gd name="connsiteX4" fmla="*/ 0 w 6069341"/>
              <a:gd name="connsiteY4" fmla="*/ 0 h 2991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9341" h="2991727">
                <a:moveTo>
                  <a:pt x="0" y="0"/>
                </a:moveTo>
                <a:lnTo>
                  <a:pt x="0" y="2991727"/>
                </a:lnTo>
                <a:lnTo>
                  <a:pt x="3084421" y="2991727"/>
                </a:lnTo>
                <a:lnTo>
                  <a:pt x="6069341" y="0"/>
                </a:lnTo>
                <a:lnTo>
                  <a:pt x="0" y="0"/>
                </a:lnTo>
                <a:close/>
              </a:path>
            </a:pathLst>
          </a:custGeom>
          <a:solidFill>
            <a:srgbClr val="0070F2"/>
          </a:solidFill>
          <a:ln w="71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5658676" name="LogoBlue-Dynamic" descr="{&quot;templafy&quot;:{&quot;id&quot;:&quot;24dda641-0340-42fc-b199-54e3bbe1e6c5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11" name="Classification-Dynamic" descr="{&quot;templafy&quot;:{&quot;id&quot;:&quot;99d85a1f-5caa-4f35-b7df-eb9703c96eda&quot;}}">
            <a:extLst>
              <a:ext uri="{FF2B5EF4-FFF2-40B4-BE49-F238E27FC236}">
                <a16:creationId xmlns:a16="http://schemas.microsoft.com/office/drawing/2014/main" id="{62D91ACB-BD14-46CB-4B61-F4B072D877C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34175995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ckground">
            <a:extLst>
              <a:ext uri="{FF2B5EF4-FFF2-40B4-BE49-F238E27FC236}">
                <a16:creationId xmlns:a16="http://schemas.microsoft.com/office/drawing/2014/main" id="{581FAEF7-1ACD-83AC-7B42-761E6A30387F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A6E0FF">
              <a:alpha val="42715"/>
            </a:srgbClr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Anvil" descr="preencoded.png">
            <a:extLst>
              <a:ext uri="{FF2B5EF4-FFF2-40B4-BE49-F238E27FC236}">
                <a16:creationId xmlns:a16="http://schemas.microsoft.com/office/drawing/2014/main" id="{94093846-CC07-3993-CA62-86004F1C03F9}"/>
              </a:ext>
            </a:extLst>
          </p:cNvPr>
          <p:cNvSpPr/>
          <p:nvPr/>
        </p:nvSpPr>
        <p:spPr>
          <a:xfrm>
            <a:off x="2289866" y="1275475"/>
            <a:ext cx="8851917" cy="4363327"/>
          </a:xfrm>
          <a:custGeom>
            <a:avLst/>
            <a:gdLst>
              <a:gd name="connsiteX0" fmla="*/ 0 w 8851917"/>
              <a:gd name="connsiteY0" fmla="*/ 0 h 4363327"/>
              <a:gd name="connsiteX1" fmla="*/ 0 w 8851917"/>
              <a:gd name="connsiteY1" fmla="*/ 4363327 h 4363327"/>
              <a:gd name="connsiteX2" fmla="*/ 4498517 w 8851917"/>
              <a:gd name="connsiteY2" fmla="*/ 4363327 h 4363327"/>
              <a:gd name="connsiteX3" fmla="*/ 8851917 w 8851917"/>
              <a:gd name="connsiteY3" fmla="*/ 0 h 4363327"/>
              <a:gd name="connsiteX4" fmla="*/ 0 w 8851917"/>
              <a:gd name="connsiteY4" fmla="*/ 0 h 436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51917" h="4363327">
                <a:moveTo>
                  <a:pt x="0" y="0"/>
                </a:moveTo>
                <a:lnTo>
                  <a:pt x="0" y="4363327"/>
                </a:lnTo>
                <a:lnTo>
                  <a:pt x="4498517" y="4363327"/>
                </a:lnTo>
                <a:lnTo>
                  <a:pt x="8851917" y="0"/>
                </a:lnTo>
                <a:lnTo>
                  <a:pt x="0" y="0"/>
                </a:lnTo>
                <a:close/>
              </a:path>
            </a:pathLst>
          </a:custGeom>
          <a:solidFill>
            <a:srgbClr val="A6E0FF"/>
          </a:solidFill>
          <a:ln w="15238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098B98B-8FDE-5B19-2FC7-97058A6B53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92992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990423110" name="LogoBlack-Dynamic" descr="{&quot;templafy&quot;:{&quot;id&quot;:&quot;787d00a1-4cac-4b81-b637-a99274574ec4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ad4994d4-76c3-4624-9265-4ebe8c04ee95&quot;}}">
            <a:extLst>
              <a:ext uri="{FF2B5EF4-FFF2-40B4-BE49-F238E27FC236}">
                <a16:creationId xmlns:a16="http://schemas.microsoft.com/office/drawing/2014/main" id="{D417CEF6-1FCD-75B6-FA13-C583ECCE7BE5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6830690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5F3BB899-74C3-EBF7-C191-EC2863B8F536}"/>
              </a:ext>
            </a:extLst>
          </p:cNvPr>
          <p:cNvSpPr/>
          <p:nvPr/>
        </p:nvSpPr>
        <p:spPr>
          <a:xfrm>
            <a:off x="0" y="0"/>
            <a:ext cx="12195175" cy="6858000"/>
          </a:xfrm>
          <a:custGeom>
            <a:avLst/>
            <a:gdLst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58000">
                <a:moveTo>
                  <a:pt x="0" y="0"/>
                </a:moveTo>
                <a:lnTo>
                  <a:pt x="12195175" y="0"/>
                </a:lnTo>
                <a:lnTo>
                  <a:pt x="12195175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1B90FF"/>
          </a:solidFill>
          <a:ln w="112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8" name="Anvil" descr="preencoded.png">
            <a:extLst>
              <a:ext uri="{FF2B5EF4-FFF2-40B4-BE49-F238E27FC236}">
                <a16:creationId xmlns:a16="http://schemas.microsoft.com/office/drawing/2014/main" id="{39A9B643-3B5A-F0D7-C3BF-3A81DE80FEB6}"/>
              </a:ext>
            </a:extLst>
          </p:cNvPr>
          <p:cNvSpPr/>
          <p:nvPr/>
        </p:nvSpPr>
        <p:spPr>
          <a:xfrm>
            <a:off x="287339" y="935666"/>
            <a:ext cx="6762048" cy="3333180"/>
          </a:xfrm>
          <a:custGeom>
            <a:avLst/>
            <a:gdLst>
              <a:gd name="connsiteX0" fmla="*/ 0 w 6762048"/>
              <a:gd name="connsiteY0" fmla="*/ 0 h 3333180"/>
              <a:gd name="connsiteX1" fmla="*/ 0 w 6762048"/>
              <a:gd name="connsiteY1" fmla="*/ 3333180 h 3333180"/>
              <a:gd name="connsiteX2" fmla="*/ 3436452 w 6762048"/>
              <a:gd name="connsiteY2" fmla="*/ 3333180 h 3333180"/>
              <a:gd name="connsiteX3" fmla="*/ 6762048 w 6762048"/>
              <a:gd name="connsiteY3" fmla="*/ 0 h 3333180"/>
              <a:gd name="connsiteX4" fmla="*/ 0 w 6762048"/>
              <a:gd name="connsiteY4" fmla="*/ 0 h 3333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62048" h="3333180">
                <a:moveTo>
                  <a:pt x="0" y="0"/>
                </a:moveTo>
                <a:lnTo>
                  <a:pt x="0" y="3333180"/>
                </a:lnTo>
                <a:lnTo>
                  <a:pt x="3436452" y="3333180"/>
                </a:lnTo>
                <a:lnTo>
                  <a:pt x="6762048" y="0"/>
                </a:lnTo>
                <a:lnTo>
                  <a:pt x="0" y="0"/>
                </a:lnTo>
                <a:close/>
              </a:path>
            </a:pathLst>
          </a:custGeom>
          <a:solidFill>
            <a:srgbClr val="002A86"/>
          </a:solidFill>
          <a:ln w="9264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709C0759-3773-C728-D6A6-855D822107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6876593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bg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135688672" name="LogoWhite-Dynamic" descr="{&quot;templafy&quot;:{&quot;id&quot;:&quot;468cc11e-ebc9-42f4-be65-89cdfb44a347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b798b046-f929-4909-a836-5f798d360ff5&quot;}}">
            <a:extLst>
              <a:ext uri="{FF2B5EF4-FFF2-40B4-BE49-F238E27FC236}">
                <a16:creationId xmlns:a16="http://schemas.microsoft.com/office/drawing/2014/main" id="{D67AB148-356D-F356-4E6C-9664D9EB9DF3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9758156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th cover with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83FFCA81-9D1B-7BE9-9F97-BEDB3E67519A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8860E7D-5DEB-5F1B-5AAF-4C41BD1A77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08700" y="0"/>
            <a:ext cx="6086475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28936725" name="Acquired Company Logo Placeholder" descr="{&quot;templafy&quot;:{&quot;id&quot;:&quot;e24a6e43-600a-4c6b-89de-bcf3787a4fa8&quot;}}" hidden="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2575" y="2141327"/>
            <a:ext cx="4125924" cy="26601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53866429" name="LogoBlue-Dynamic" descr="{&quot;templafy&quot;:{&quot;id&quot;:&quot;2adb6e73-401a-40c8-920f-314d5e045a9a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19fd4b9e-aabf-4332-9e0c-96b627a7d3e6&quot;}}">
            <a:extLst>
              <a:ext uri="{FF2B5EF4-FFF2-40B4-BE49-F238E27FC236}">
                <a16:creationId xmlns:a16="http://schemas.microsoft.com/office/drawing/2014/main" id="{4A078429-99DD-7555-B0F4-FEF46FD297B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7796545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 and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9DE307C8-D1C3-00E2-C5B0-2A7EBB981384}"/>
              </a:ext>
            </a:extLst>
          </p:cNvPr>
          <p:cNvSpPr/>
          <p:nvPr/>
        </p:nvSpPr>
        <p:spPr>
          <a:xfrm>
            <a:off x="0" y="2"/>
            <a:ext cx="12195175" cy="6861495"/>
          </a:xfrm>
          <a:custGeom>
            <a:avLst/>
            <a:gdLst>
              <a:gd name="connsiteX0" fmla="*/ 0 w 12195175"/>
              <a:gd name="connsiteY0" fmla="*/ 0 h 6861495"/>
              <a:gd name="connsiteX1" fmla="*/ 12195175 w 12195175"/>
              <a:gd name="connsiteY1" fmla="*/ 0 h 6861495"/>
              <a:gd name="connsiteX2" fmla="*/ 12195175 w 12195175"/>
              <a:gd name="connsiteY2" fmla="*/ 6861496 h 6861495"/>
              <a:gd name="connsiteX3" fmla="*/ 0 w 12195175"/>
              <a:gd name="connsiteY3" fmla="*/ 6861496 h 6861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61495">
                <a:moveTo>
                  <a:pt x="0" y="0"/>
                </a:moveTo>
                <a:lnTo>
                  <a:pt x="12195175" y="0"/>
                </a:lnTo>
                <a:lnTo>
                  <a:pt x="12195175" y="6861496"/>
                </a:lnTo>
                <a:lnTo>
                  <a:pt x="0" y="6861496"/>
                </a:lnTo>
                <a:close/>
              </a:path>
            </a:pathLst>
          </a:custGeom>
          <a:solidFill>
            <a:srgbClr val="0057D2"/>
          </a:solidFill>
          <a:ln w="1016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6" name="Anvil" descr="preencoded.png">
            <a:extLst>
              <a:ext uri="{FF2B5EF4-FFF2-40B4-BE49-F238E27FC236}">
                <a16:creationId xmlns:a16="http://schemas.microsoft.com/office/drawing/2014/main" id="{6C575B3E-49FD-8450-F2CB-84C6E7A1153D}"/>
              </a:ext>
            </a:extLst>
          </p:cNvPr>
          <p:cNvSpPr/>
          <p:nvPr/>
        </p:nvSpPr>
        <p:spPr>
          <a:xfrm>
            <a:off x="752355" y="1156532"/>
            <a:ext cx="5613722" cy="2756252"/>
          </a:xfrm>
          <a:custGeom>
            <a:avLst/>
            <a:gdLst>
              <a:gd name="connsiteX0" fmla="*/ 0 w 5613722"/>
              <a:gd name="connsiteY0" fmla="*/ 0 h 2756252"/>
              <a:gd name="connsiteX1" fmla="*/ 0 w 5613722"/>
              <a:gd name="connsiteY1" fmla="*/ 2756252 h 2756252"/>
              <a:gd name="connsiteX2" fmla="*/ 2852875 w 5613722"/>
              <a:gd name="connsiteY2" fmla="*/ 2756252 h 2756252"/>
              <a:gd name="connsiteX3" fmla="*/ 5613722 w 5613722"/>
              <a:gd name="connsiteY3" fmla="*/ 0 h 2756252"/>
              <a:gd name="connsiteX4" fmla="*/ 0 w 5613722"/>
              <a:gd name="connsiteY4" fmla="*/ 0 h 2756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3722" h="2756252">
                <a:moveTo>
                  <a:pt x="0" y="0"/>
                </a:moveTo>
                <a:lnTo>
                  <a:pt x="0" y="2756252"/>
                </a:lnTo>
                <a:lnTo>
                  <a:pt x="2852875" y="2756252"/>
                </a:lnTo>
                <a:lnTo>
                  <a:pt x="5613722" y="0"/>
                </a:lnTo>
                <a:lnTo>
                  <a:pt x="0" y="0"/>
                </a:lnTo>
                <a:close/>
              </a:path>
            </a:pathLst>
          </a:custGeom>
          <a:solidFill>
            <a:srgbClr val="1B90FF"/>
          </a:solidFill>
          <a:ln w="9273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F6D8674-EA25-0C87-7F7A-4B6FFA7F1F1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836063" y="0"/>
            <a:ext cx="4359114" cy="6858000"/>
          </a:xfrm>
        </p:spPr>
        <p:txBody>
          <a:bodyPr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A222ABC1-A03E-5EDE-02E2-6F3794850C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401" y="2206502"/>
            <a:ext cx="5529704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bg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462713959" name="LogoWhite-Dynamic" descr="{&quot;templafy&quot;:{&quot;id&quot;:&quot;ae30ed49-76db-405c-8e79-7aba1a001200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5" name="Classification-Dynamic" descr="{&quot;templafy&quot;:{&quot;id&quot;:&quot;c0ba914e-4f09-45b0-9f6c-35c8b490f42b&quot;}}">
            <a:extLst>
              <a:ext uri="{FF2B5EF4-FFF2-40B4-BE49-F238E27FC236}">
                <a16:creationId xmlns:a16="http://schemas.microsoft.com/office/drawing/2014/main" id="{7A6CB977-D711-D436-9DC2-AAFCC56F9CAA}"/>
              </a:ext>
            </a:extLst>
          </p:cNvPr>
          <p:cNvSpPr txBox="1"/>
          <p:nvPr userDrawn="1"/>
        </p:nvSpPr>
        <p:spPr>
          <a:xfrm>
            <a:off x="440401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1820848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5F3BB899-74C3-EBF7-C191-EC2863B8F536}"/>
              </a:ext>
            </a:extLst>
          </p:cNvPr>
          <p:cNvSpPr/>
          <p:nvPr/>
        </p:nvSpPr>
        <p:spPr>
          <a:xfrm>
            <a:off x="0" y="0"/>
            <a:ext cx="12195175" cy="6858000"/>
          </a:xfrm>
          <a:custGeom>
            <a:avLst/>
            <a:gdLst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58000">
                <a:moveTo>
                  <a:pt x="0" y="0"/>
                </a:moveTo>
                <a:lnTo>
                  <a:pt x="12195175" y="0"/>
                </a:lnTo>
                <a:lnTo>
                  <a:pt x="12195175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1B90FF"/>
          </a:solidFill>
          <a:ln w="112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" name="Anvil" descr="preencoded.png">
            <a:extLst>
              <a:ext uri="{FF2B5EF4-FFF2-40B4-BE49-F238E27FC236}">
                <a16:creationId xmlns:a16="http://schemas.microsoft.com/office/drawing/2014/main" id="{39A9B643-3B5A-F0D7-C3BF-3A81DE80FEB6}"/>
              </a:ext>
            </a:extLst>
          </p:cNvPr>
          <p:cNvSpPr/>
          <p:nvPr/>
        </p:nvSpPr>
        <p:spPr>
          <a:xfrm>
            <a:off x="287339" y="935666"/>
            <a:ext cx="6762048" cy="3333180"/>
          </a:xfrm>
          <a:custGeom>
            <a:avLst/>
            <a:gdLst>
              <a:gd name="connsiteX0" fmla="*/ 0 w 6762048"/>
              <a:gd name="connsiteY0" fmla="*/ 0 h 3333180"/>
              <a:gd name="connsiteX1" fmla="*/ 0 w 6762048"/>
              <a:gd name="connsiteY1" fmla="*/ 3333180 h 3333180"/>
              <a:gd name="connsiteX2" fmla="*/ 3436452 w 6762048"/>
              <a:gd name="connsiteY2" fmla="*/ 3333180 h 3333180"/>
              <a:gd name="connsiteX3" fmla="*/ 6762048 w 6762048"/>
              <a:gd name="connsiteY3" fmla="*/ 0 h 3333180"/>
              <a:gd name="connsiteX4" fmla="*/ 0 w 6762048"/>
              <a:gd name="connsiteY4" fmla="*/ 0 h 3333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62048" h="3333180">
                <a:moveTo>
                  <a:pt x="0" y="0"/>
                </a:moveTo>
                <a:lnTo>
                  <a:pt x="0" y="3333180"/>
                </a:lnTo>
                <a:lnTo>
                  <a:pt x="3436452" y="3333180"/>
                </a:lnTo>
                <a:lnTo>
                  <a:pt x="6762048" y="0"/>
                </a:lnTo>
                <a:lnTo>
                  <a:pt x="0" y="0"/>
                </a:lnTo>
                <a:close/>
              </a:path>
            </a:pathLst>
          </a:custGeom>
          <a:solidFill>
            <a:srgbClr val="002A86"/>
          </a:solidFill>
          <a:ln w="926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709C0759-3773-C728-D6A6-855D822107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876593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bg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135688672" name="LogoWhite-Dynamic" descr="{&quot;templafy&quot;:{&quot;id&quot;:&quot;468cc11e-ebc9-42f4-be65-89cdfb44a347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b798b046-f929-4909-a836-5f798d360ff5&quot;}}">
            <a:extLst>
              <a:ext uri="{FF2B5EF4-FFF2-40B4-BE49-F238E27FC236}">
                <a16:creationId xmlns:a16="http://schemas.microsoft.com/office/drawing/2014/main" id="{D67AB148-356D-F356-4E6C-9664D9EB9DF3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42932821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 items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1580844"/>
            <a:ext cx="11185200" cy="4764394"/>
          </a:xfrm>
        </p:spPr>
        <p:txBody>
          <a:bodyPr>
            <a:normAutofit/>
          </a:bodyPr>
          <a:lstStyle>
            <a:lvl1pPr marL="0" marR="0" indent="0" algn="l" defTabSz="1088231" rtl="0" eaLnBrk="1" fontAlgn="auto" latinLnBrk="0" hangingPunct="1">
              <a:lnSpc>
                <a:spcPct val="100000"/>
              </a:lnSpc>
              <a:spcBef>
                <a:spcPts val="29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999" b="0"/>
            </a:lvl1pPr>
            <a:lvl2pPr marL="179910" marR="0" indent="-179910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799"/>
            </a:lvl2pPr>
            <a:lvl3pPr marL="359820" marR="0" indent="-179298" algn="l" defTabSz="1088231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tabLst/>
              <a:defRPr sz="1799" baseline="0"/>
            </a:lvl3pPr>
            <a:lvl4pPr marL="539730" marR="0" indent="-179910" algn="l" defTabSz="1088231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Courier New" pitchFamily="49" charset="0"/>
              <a:buChar char="o"/>
              <a:tabLst/>
              <a:defRPr sz="1600"/>
            </a:lvl4pPr>
            <a:lvl5pPr>
              <a:buClr>
                <a:schemeClr val="accent2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/>
              <a:t>Agenda Item/Divider Headlin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3" name="Agenda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9181572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981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6">
          <p15:clr>
            <a:srgbClr val="FBAE40"/>
          </p15:clr>
        </p15:guide>
        <p15:guide id="5" orient="horz" pos="551">
          <p15:clr>
            <a:srgbClr val="FBAE40"/>
          </p15:clr>
        </p15:guide>
        <p15:guide id="6" orient="horz" pos="3997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3090446"/>
            <a:ext cx="11185200" cy="677108"/>
          </a:xfrm>
        </p:spPr>
        <p:txBody>
          <a:bodyPr anchor="ctr" anchorCtr="0">
            <a:noAutofit/>
          </a:bodyPr>
          <a:lstStyle>
            <a:lvl1pPr>
              <a:defRPr sz="43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2207220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7364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image placeholder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3427200"/>
            <a:ext cx="12195175" cy="3430800"/>
          </a:xfrm>
          <a:noFill/>
        </p:spPr>
        <p:txBody>
          <a:bodyPr tIns="324000"/>
          <a:lstStyle>
            <a:lvl1pPr marL="0" marR="0" indent="0" algn="ctr" defTabSz="108823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108823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Placeholder for image and illustration</a:t>
            </a:r>
          </a:p>
        </p:txBody>
      </p:sp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3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801228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64">
          <p15:clr>
            <a:srgbClr val="FBAE40"/>
          </p15:clr>
        </p15:guide>
        <p15:guide id="3" pos="303">
          <p15:clr>
            <a:srgbClr val="FBAE40"/>
          </p15:clr>
        </p15:guide>
        <p15:guide id="4" orient="horz" pos="865">
          <p15:clr>
            <a:srgbClr val="FBAE40"/>
          </p15:clr>
        </p15:guide>
        <p15:guide id="5" orient="horz" pos="1294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3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0552270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64">
          <p15:clr>
            <a:srgbClr val="FBAE40"/>
          </p15:clr>
        </p15:guide>
        <p15:guide id="3" pos="303">
          <p15:clr>
            <a:srgbClr val="FBAE40"/>
          </p15:clr>
        </p15:guide>
        <p15:guide id="4" orient="horz" pos="865">
          <p15:clr>
            <a:srgbClr val="FBAE40"/>
          </p15:clr>
        </p15:guide>
        <p15:guide id="5" orient="horz" pos="1294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6656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1651" y="1557338"/>
            <a:ext cx="11186477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76747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>
          <p15:clr>
            <a:srgbClr val="FBAE40"/>
          </p15:clr>
        </p15:guide>
        <p15:guide id="2" orient="horz" pos="399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8">
          <p15:clr>
            <a:srgbClr val="FBAE40"/>
          </p15:clr>
        </p15:guide>
        <p15:guide id="5" orient="horz" pos="552">
          <p15:clr>
            <a:srgbClr val="FBAE40"/>
          </p15:clr>
        </p15:guide>
        <p15:guide id="6" orient="horz" pos="981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- column 2"/>
          <p:cNvSpPr>
            <a:spLocks noGrp="1"/>
          </p:cNvSpPr>
          <p:nvPr>
            <p:ph type="body" sz="quarter" idx="11" hasCustomPrompt="1"/>
          </p:nvPr>
        </p:nvSpPr>
        <p:spPr>
          <a:xfrm>
            <a:off x="6362477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2827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7">
          <p15:clr>
            <a:srgbClr val="FBAE40"/>
          </p15:clr>
        </p15:guide>
        <p15:guide id="3" pos="7364">
          <p15:clr>
            <a:srgbClr val="FBAE40"/>
          </p15:clr>
        </p15:guide>
        <p15:guide id="4" pos="3674">
          <p15:clr>
            <a:srgbClr val="FBAE40"/>
          </p15:clr>
        </p15:guide>
        <p15:guide id="5" pos="4007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551">
          <p15:clr>
            <a:srgbClr val="FBAE40"/>
          </p15:clr>
        </p15:guide>
        <p15:guide id="8" orient="horz" pos="981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- column 3"/>
          <p:cNvSpPr>
            <a:spLocks noGrp="1"/>
          </p:cNvSpPr>
          <p:nvPr>
            <p:ph type="body" sz="quarter" idx="13" hasCustomPrompt="1"/>
          </p:nvPr>
        </p:nvSpPr>
        <p:spPr>
          <a:xfrm>
            <a:off x="8126477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- column 2"/>
          <p:cNvSpPr>
            <a:spLocks noGrp="1"/>
          </p:cNvSpPr>
          <p:nvPr>
            <p:ph type="body" sz="quarter" idx="12" hasCustomPrompt="1"/>
          </p:nvPr>
        </p:nvSpPr>
        <p:spPr>
          <a:xfrm>
            <a:off x="4315238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21816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563">
          <p15:clr>
            <a:srgbClr val="FBAE40"/>
          </p15:clr>
        </p15:guide>
        <p15:guide id="4" pos="2717">
          <p15:clr>
            <a:srgbClr val="FBAE40"/>
          </p15:clr>
        </p15:guide>
        <p15:guide id="5" pos="4964">
          <p15:clr>
            <a:srgbClr val="FBAE40"/>
          </p15:clr>
        </p15:guide>
        <p15:guide id="6" pos="5119">
          <p15:clr>
            <a:srgbClr val="FBAE40"/>
          </p15:clr>
        </p15:guide>
        <p15:guide id="7" pos="7364">
          <p15:clr>
            <a:srgbClr val="FBAE40"/>
          </p15:clr>
        </p15:guide>
        <p15:guide id="8" orient="horz" pos="551">
          <p15:clr>
            <a:srgbClr val="FBAE40"/>
          </p15:clr>
        </p15:guide>
        <p15:guide id="9" orient="horz" pos="981">
          <p15:clr>
            <a:srgbClr val="FBAE40"/>
          </p15:clr>
        </p15:guide>
        <p15:guide id="10" orient="horz" pos="3997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362477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62477" y="1557339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1" y="1557339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9172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981">
          <p15:clr>
            <a:srgbClr val="FBAE40"/>
          </p15:clr>
        </p15:guide>
        <p15:guide id="5" orient="horz" pos="2750">
          <p15:clr>
            <a:srgbClr val="FBAE40"/>
          </p15:clr>
        </p15:guide>
        <p15:guide id="6" orient="horz" pos="3004">
          <p15:clr>
            <a:srgbClr val="FBAE40"/>
          </p15:clr>
        </p15:guide>
        <p15:guide id="7" orient="horz" pos="3997">
          <p15:clr>
            <a:srgbClr val="FBAE40"/>
          </p15:clr>
        </p15:guide>
        <p15:guide id="8" pos="3682">
          <p15:clr>
            <a:srgbClr val="FBAE40"/>
          </p15:clr>
        </p15:guide>
        <p15:guide id="9" pos="4000">
          <p15:clr>
            <a:srgbClr val="FBAE40"/>
          </p15:clr>
        </p15:guide>
        <p15:guide id="10" pos="7364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99277" y="4354923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299277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401639" y="4354923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401639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4354923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1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3615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455">
          <p15:clr>
            <a:srgbClr val="FBAE40"/>
          </p15:clr>
        </p15:guide>
        <p15:guide id="4" pos="2773">
          <p15:clr>
            <a:srgbClr val="FBAE40"/>
          </p15:clr>
        </p15:guide>
        <p15:guide id="5" pos="4910">
          <p15:clr>
            <a:srgbClr val="FBAE40"/>
          </p15:clr>
        </p15:guide>
        <p15:guide id="6" pos="5227">
          <p15:clr>
            <a:srgbClr val="FBAE40"/>
          </p15:clr>
        </p15:guide>
        <p15:guide id="7" pos="7364">
          <p15:clr>
            <a:srgbClr val="FBAE40"/>
          </p15:clr>
        </p15:guide>
        <p15:guide id="8" orient="horz" pos="551">
          <p15:clr>
            <a:srgbClr val="FBAE40"/>
          </p15:clr>
        </p15:guide>
        <p15:guide id="9" orient="horz" pos="981">
          <p15:clr>
            <a:srgbClr val="FBAE40"/>
          </p15:clr>
        </p15:guide>
        <p15:guide id="10" orient="horz" pos="2428">
          <p15:clr>
            <a:srgbClr val="FBAE40"/>
          </p15:clr>
        </p15:guide>
        <p15:guide id="11" orient="horz" pos="2743">
          <p15:clr>
            <a:srgbClr val="FBAE40"/>
          </p15:clr>
        </p15:guide>
        <p15:guide id="12" orient="horz" pos="3997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th cover with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83FFCA81-9D1B-7BE9-9F97-BEDB3E67519A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8860E7D-5DEB-5F1B-5AAF-4C41BD1A77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08700" y="0"/>
            <a:ext cx="6086475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28936725" name="Acquired Company Logo Placeholder" descr="{&quot;templafy&quot;:{&quot;id&quot;:&quot;e24a6e43-600a-4c6b-89de-bcf3787a4fa8&quot;}}" hidden="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2575" y="2141327"/>
            <a:ext cx="4125924" cy="26601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53866429" name="LogoBlue-Dynamic" descr="{&quot;templafy&quot;:{&quot;id&quot;:&quot;2adb6e73-401a-40c8-920f-314d5e045a9a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19fd4b9e-aabf-4332-9e0c-96b627a7d3e6&quot;}}">
            <a:extLst>
              <a:ext uri="{FF2B5EF4-FFF2-40B4-BE49-F238E27FC236}">
                <a16:creationId xmlns:a16="http://schemas.microsoft.com/office/drawing/2014/main" id="{4A078429-99DD-7555-B0F4-FEF46FD297B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0436557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- column 2"/>
          <p:cNvSpPr>
            <a:spLocks noGrp="1"/>
          </p:cNvSpPr>
          <p:nvPr>
            <p:ph type="body" sz="quarter" idx="13" hasCustomPrompt="1"/>
          </p:nvPr>
        </p:nvSpPr>
        <p:spPr>
          <a:xfrm>
            <a:off x="927487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9274877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13" name="Text placeholder - column 2"/>
          <p:cNvSpPr>
            <a:spLocks noGrp="1"/>
          </p:cNvSpPr>
          <p:nvPr>
            <p:ph type="body" sz="quarter" idx="17" hasCustomPrompt="1"/>
          </p:nvPr>
        </p:nvSpPr>
        <p:spPr>
          <a:xfrm>
            <a:off x="6351253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51253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- column 2"/>
          <p:cNvSpPr>
            <a:spLocks noGrp="1"/>
          </p:cNvSpPr>
          <p:nvPr>
            <p:ph type="body" sz="quarter" idx="15" hasCustomPrompt="1"/>
          </p:nvPr>
        </p:nvSpPr>
        <p:spPr>
          <a:xfrm>
            <a:off x="342762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427627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3878220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1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5341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981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442">
          <p15:clr>
            <a:srgbClr val="FBAE40"/>
          </p15:clr>
        </p15:guide>
        <p15:guide id="7" orient="horz" pos="3990">
          <p15:clr>
            <a:srgbClr val="FBAE40"/>
          </p15:clr>
        </p15:guide>
        <p15:guide id="8" pos="1840">
          <p15:clr>
            <a:srgbClr val="FBAE40"/>
          </p15:clr>
        </p15:guide>
        <p15:guide id="9" pos="2159">
          <p15:clr>
            <a:srgbClr val="FBAE40"/>
          </p15:clr>
        </p15:guide>
        <p15:guide id="10" pos="3683">
          <p15:clr>
            <a:srgbClr val="FBAE40"/>
          </p15:clr>
        </p15:guide>
        <p15:guide id="11" pos="4000">
          <p15:clr>
            <a:srgbClr val="FBAE40"/>
          </p15:clr>
        </p15:guide>
        <p15:guide id="12" pos="5525">
          <p15:clr>
            <a:srgbClr val="FBAE40"/>
          </p15:clr>
        </p15:guide>
        <p15:guide id="13" pos="5842">
          <p15:clr>
            <a:srgbClr val="FBAE40"/>
          </p15:clr>
        </p15:guide>
        <p15:guide id="14" pos="7364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800000"/>
            <a:ext cx="11185200" cy="3285032"/>
          </a:xfrm>
        </p:spPr>
        <p:txBody>
          <a:bodyPr/>
          <a:lstStyle>
            <a:lvl1pPr marL="395802" indent="-395802">
              <a:lnSpc>
                <a:spcPct val="90000"/>
              </a:lnSpc>
              <a:spcBef>
                <a:spcPts val="600"/>
              </a:spcBef>
              <a:defRPr sz="5997" b="0" i="0">
                <a:latin typeface="72 Brand Medium" panose="020B0504030603020204" pitchFamily="34" charset="0"/>
              </a:defRPr>
            </a:lvl1pPr>
            <a:lvl2pPr marL="395802" indent="0">
              <a:buNone/>
              <a:defRPr sz="1600"/>
            </a:lvl2pPr>
          </a:lstStyle>
          <a:p>
            <a:pPr lvl="0"/>
            <a:r>
              <a:rPr lang="en-US" noProof="0"/>
              <a:t>“Quote goes here </a:t>
            </a:r>
            <a:br>
              <a:rPr lang="en-US" noProof="0"/>
            </a:br>
            <a:r>
              <a:rPr lang="en-US" noProof="0"/>
              <a:t>and here.”</a:t>
            </a:r>
          </a:p>
          <a:p>
            <a:pPr lvl="1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6325029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4" orient="horz" pos="1133">
          <p15:clr>
            <a:srgbClr val="FBAE40"/>
          </p15:clr>
        </p15:guide>
        <p15:guide id="5" orient="horz" pos="3204">
          <p15:clr>
            <a:srgbClr val="FBAE40"/>
          </p15:clr>
        </p15:guide>
        <p15:guide id="6" pos="7363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Imag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/3 right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27175" y="0"/>
            <a:ext cx="4068000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03999" y="1557338"/>
            <a:ext cx="7092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7092000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05629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4786">
          <p15:clr>
            <a:srgbClr val="FBAE40"/>
          </p15:clr>
        </p15:guide>
        <p15:guide id="4" pos="5111">
          <p15:clr>
            <a:srgbClr val="FBAE40"/>
          </p15:clr>
        </p15:guide>
        <p15:guide id="5" orient="horz" pos="317">
          <p15:clr>
            <a:srgbClr val="FBAE40"/>
          </p15:clr>
        </p15:guide>
        <p15:guide id="6" orient="horz" pos="551">
          <p15:clr>
            <a:srgbClr val="FBAE40"/>
          </p15:clr>
        </p15:guide>
        <p15:guide id="7" orient="horz" pos="981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0"/>
            <a:ext cx="12195175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822764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62477" y="1557338"/>
            <a:ext cx="5328000" cy="4778662"/>
          </a:xfrm>
          <a:noFill/>
        </p:spPr>
        <p:txBody>
          <a:bodyPr vert="horz" lIns="0" tIns="1512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screenshot</a:t>
            </a:r>
            <a:endParaRPr lang="de-DE"/>
          </a:p>
        </p:txBody>
      </p:sp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1557338"/>
            <a:ext cx="5328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9480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981">
          <p15:clr>
            <a:srgbClr val="FBAE40"/>
          </p15:clr>
        </p15:guide>
        <p15:guide id="3" pos="3674">
          <p15:clr>
            <a:srgbClr val="FBAE40"/>
          </p15:clr>
        </p15:guide>
        <p15:guide id="4" pos="4008">
          <p15:clr>
            <a:srgbClr val="FBAE40"/>
          </p15:clr>
        </p15:guide>
        <p15:guide id="5" pos="7364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551">
          <p15:clr>
            <a:srgbClr val="FBAE40"/>
          </p15:clr>
        </p15:guide>
        <p15:guide id="8" orient="horz" pos="3991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"/>
          <p:cNvSpPr>
            <a:spLocks noGrp="1"/>
          </p:cNvSpPr>
          <p:nvPr>
            <p:ph idx="1" hasCustomPrompt="1"/>
          </p:nvPr>
        </p:nvSpPr>
        <p:spPr bwMode="gray">
          <a:xfrm>
            <a:off x="504000" y="1557338"/>
            <a:ext cx="11185200" cy="4778662"/>
          </a:xfrm>
          <a:noFill/>
        </p:spPr>
        <p:txBody>
          <a:bodyPr tIns="1368000"/>
          <a:lstStyle>
            <a:lvl1pPr algn="ctr">
              <a:defRPr sz="1400" b="0"/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70024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981">
          <p15:clr>
            <a:srgbClr val="FBAE40"/>
          </p15:clr>
        </p15:guide>
        <p15:guide id="5" orient="horz" pos="3991">
          <p15:clr>
            <a:srgbClr val="FBAE40"/>
          </p15:clr>
        </p15:guide>
        <p15:guide id="6" pos="7364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032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1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, Contact and 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433C5639-DDA2-864A-9DC3-7FC80AC852D5}"/>
              </a:ext>
            </a:extLst>
          </p:cNvPr>
          <p:cNvSpPr txBox="1"/>
          <p:nvPr userDrawn="1"/>
        </p:nvSpPr>
        <p:spPr>
          <a:xfrm>
            <a:off x="503240" y="2905127"/>
            <a:ext cx="184393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449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lang="en-US" sz="1600" b="0" i="0">
                <a:latin typeface="+mn-lt"/>
              </a:rPr>
              <a:t>Contact information:</a:t>
            </a:r>
          </a:p>
        </p:txBody>
      </p:sp>
      <p:sp>
        <p:nvSpPr>
          <p:cNvPr id="9" name="Copyright - Dynamic" descr="{&quot;templafy&quot;:{&quot;id&quot;:&quot;68c8689a-7a81-470c-8a82-d35a6ccb8b77&quot;}}">
            <a:extLst>
              <a:ext uri="{FF2B5EF4-FFF2-40B4-BE49-F238E27FC236}">
                <a16:creationId xmlns:a16="http://schemas.microsoft.com/office/drawing/2014/main" id="{EDAF1AF5-D568-20CC-6052-F655D86F5486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 b="0" i="0">
                <a:latin typeface="+mn-lt"/>
              </a:rPr>
              <a:t>© 2024 SAP SE or an SAP affiliate company. All rights reserved. See Legal Notice on </a:t>
            </a:r>
            <a:r>
              <a:rPr lang="en-US" sz="600" b="0" i="0" err="1">
                <a:latin typeface="+mn-lt"/>
              </a:rPr>
              <a:t>www.sap.com</a:t>
            </a:r>
            <a:r>
              <a:rPr lang="en-US" sz="600" b="0" i="0">
                <a:latin typeface="+mn-lt"/>
              </a:rPr>
              <a:t>/legal-notice for use terms, disclaimers, disclosures, or restrictions related to this material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92DE12-4084-77D2-FD2A-8E63F6FBE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1520825"/>
            <a:ext cx="5413477" cy="846386"/>
          </a:xfrm>
        </p:spPr>
        <p:txBody>
          <a:bodyPr/>
          <a:lstStyle>
            <a:lvl1pPr>
              <a:defRPr sz="5498" b="0" i="0">
                <a:latin typeface="72 Brand Medium" panose="020B0504030603020204" pitchFamily="34" charset="0"/>
              </a:defRPr>
            </a:lvl1pPr>
          </a:lstStyle>
          <a:p>
            <a:r>
              <a:rPr lang="en-GB"/>
              <a:t>Thank you.</a:t>
            </a:r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A23274F-1EBD-A73A-AC54-963A234E9E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63291" y="5990000"/>
            <a:ext cx="727059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975579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7364">
          <p15:clr>
            <a:srgbClr val="FBAE40"/>
          </p15:clr>
        </p15:guide>
        <p15:guide id="2" orient="horz" pos="958">
          <p15:clr>
            <a:srgbClr val="FBAE40"/>
          </p15:clr>
        </p15:guide>
        <p15:guide id="4" orient="horz" pos="1830">
          <p15:clr>
            <a:srgbClr val="FBAE40"/>
          </p15:clr>
        </p15:guide>
        <p15:guide id="5" orient="horz" pos="4000">
          <p15:clr>
            <a:srgbClr val="FBAE40"/>
          </p15:clr>
        </p15:guide>
        <p15:guide id="6" pos="317">
          <p15:clr>
            <a:srgbClr val="FBAE40"/>
          </p15:clr>
        </p15:guide>
        <p15:guide id="8" pos="3841">
          <p15:clr>
            <a:srgbClr val="FBAE40"/>
          </p15:clr>
        </p15:guide>
        <p15:guide id="9" orient="horz" pos="318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0755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al Small Anvil Outline Pattern Divi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7DB55A2-4C35-5451-67D3-87BC90EB113D}"/>
              </a:ext>
            </a:extLst>
          </p:cNvPr>
          <p:cNvSpPr/>
          <p:nvPr userDrawn="1"/>
        </p:nvSpPr>
        <p:spPr>
          <a:xfrm>
            <a:off x="0" y="0"/>
            <a:ext cx="12195175" cy="6858000"/>
          </a:xfrm>
          <a:prstGeom prst="rect">
            <a:avLst/>
          </a:prstGeom>
          <a:solidFill>
            <a:srgbClr val="89D1FF"/>
          </a:solidFill>
          <a:ln w="4467" cap="flat">
            <a:noFill/>
            <a:prstDash val="solid"/>
            <a:miter/>
          </a:ln>
        </p:spPr>
        <p:txBody>
          <a:bodyPr rtlCol="0" anchor="ctr"/>
          <a:lstStyle/>
          <a:p>
            <a:pPr algn="l" defTabSz="1088327"/>
            <a:endParaRPr lang="en-US" sz="1799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95179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7360">
          <p15:clr>
            <a:srgbClr val="FBAE40"/>
          </p15:clr>
        </p15:guide>
      </p15:sldGuideLst>
    </p:ext>
  </p:extLst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theme" Target="../theme/theme1.xml"/><Relationship Id="rId33" Type="http://schemas.openxmlformats.org/officeDocument/2006/relationships/tags" Target="../tags/tag2.xml"/><Relationship Id="rId34" Type="http://schemas.openxmlformats.org/officeDocument/2006/relationships/tags" Target="../tags/tag3.xml"/><Relationship Id="rId35" Type="http://schemas.openxmlformats.org/officeDocument/2006/relationships/tags" Target="../tags/tag4.xml"/><Relationship Id="rId36" Type="http://schemas.openxmlformats.org/officeDocument/2006/relationships/tags" Target="../tags/tag5.xml"/><Relationship Id="rId37" Type="http://schemas.openxmlformats.org/officeDocument/2006/relationships/tags" Target="../tags/tag6.xml"/><Relationship Id="rId38" Type="http://schemas.openxmlformats.org/officeDocument/2006/relationships/tags" Target="../tags/tag7.xml"/><Relationship Id="rId39" Type="http://schemas.openxmlformats.org/officeDocument/2006/relationships/tags" Target="../tags/tag8.xml"/><Relationship Id="rId40" Type="http://schemas.openxmlformats.org/officeDocument/2006/relationships/tags" Target="../tags/tag9.xml"/><Relationship Id="rId41" Type="http://schemas.openxmlformats.org/officeDocument/2006/relationships/tags" Target="../tags/tag10.xml"/><Relationship Id="rId42" Type="http://schemas.openxmlformats.org/officeDocument/2006/relationships/tags" Target="../tags/tag11.xml"/><Relationship Id="rId43" Type="http://schemas.openxmlformats.org/officeDocument/2006/relationships/tags" Target="../tags/tag12.xml"/><Relationship Id="rId44" Type="http://schemas.openxmlformats.org/officeDocument/2006/relationships/tags" Target="../tags/tag13.xml"/><Relationship Id="rId45" Type="http://schemas.openxmlformats.org/officeDocument/2006/relationships/tags" Target="../tags/tag14.xml"/><Relationship Id="rId46" Type="http://schemas.openxmlformats.org/officeDocument/2006/relationships/tags" Target="../tags/tag15.xml"/><Relationship Id="rId47" Type="http://schemas.openxmlformats.org/officeDocument/2006/relationships/tags" Target="../tags/tag16.xml"/><Relationship Id="rId48" Type="http://schemas.openxmlformats.org/officeDocument/2006/relationships/tags" Target="../tags/tag17.xml"/><Relationship Id="rId49" Type="http://schemas.openxmlformats.org/officeDocument/2006/relationships/tags" Target="../tags/tag18.xml"/><Relationship Id="rId50" Type="http://schemas.openxmlformats.org/officeDocument/2006/relationships/tags" Target="../tags/tag19.xml"/><Relationship Id="rId51" Type="http://schemas.openxmlformats.org/officeDocument/2006/relationships/tags" Target="../tags/tag20.xml"/><Relationship Id="rId52" Type="http://schemas.openxmlformats.org/officeDocument/2006/relationships/tags" Target="../tags/tag21.xml"/><Relationship Id="rId53" Type="http://schemas.openxmlformats.org/officeDocument/2006/relationships/tags" Target="../tags/tag22.xml"/><Relationship Id="rId54" Type="http://schemas.openxmlformats.org/officeDocument/2006/relationships/tags" Target="../tags/tag23.xml"/><Relationship Id="rId55" Type="http://schemas.openxmlformats.org/officeDocument/2006/relationships/tags" Target="../tags/tag24.xml"/><Relationship Id="rId56" Type="http://schemas.openxmlformats.org/officeDocument/2006/relationships/tags" Target="../tags/tag25.xml"/><Relationship Id="rId57" Type="http://schemas.openxmlformats.org/officeDocument/2006/relationships/tags" Target="../tags/tag26.xml"/><Relationship Id="rId58" Type="http://schemas.openxmlformats.org/officeDocument/2006/relationships/tags" Target="../tags/tag27.xml"/><Relationship Id="rId59" Type="http://schemas.openxmlformats.org/officeDocument/2006/relationships/tags" Target="../tags/tag28.xml"/><Relationship Id="rId60" Type="http://schemas.openxmlformats.org/officeDocument/2006/relationships/tags" Target="../tags/tag29.xml"/><Relationship Id="rId61" Type="http://schemas.openxmlformats.org/officeDocument/2006/relationships/tags" Target="../tags/tag30.xml"/><Relationship Id="rId62" Type="http://schemas.openxmlformats.org/officeDocument/2006/relationships/tags" Target="../tags/tag31.xml"/><Relationship Id="rId63" Type="http://schemas.openxmlformats.org/officeDocument/2006/relationships/tags" Target="../tags/tag32.xml"/><Relationship Id="rId64" Type="http://schemas.openxmlformats.org/officeDocument/2006/relationships/tags" Target="../tags/tag33.xml"/><Relationship Id="rId65" Type="http://schemas.openxmlformats.org/officeDocument/2006/relationships/tags" Target="../tags/tag34.xml"/><Relationship Id="rId66" Type="http://schemas.openxmlformats.org/officeDocument/2006/relationships/tags" Target="../tags/tag35.xml"/><Relationship Id="rId67" Type="http://schemas.openxmlformats.org/officeDocument/2006/relationships/tags" Target="../tags/tag36.xml"/><Relationship Id="rId68" Type="http://schemas.openxmlformats.org/officeDocument/2006/relationships/tags" Target="../tags/tag37.xml"/><Relationship Id="rId69" Type="http://schemas.openxmlformats.org/officeDocument/2006/relationships/tags" Target="../tags/tag38.xml"/><Relationship Id="rId70" Type="http://schemas.openxmlformats.org/officeDocument/2006/relationships/tags" Target="../tags/tag39.xml"/><Relationship Id="rId71" Type="http://schemas.openxmlformats.org/officeDocument/2006/relationships/tags" Target="../tags/tag40.xml"/><Relationship Id="rId72" Type="http://schemas.openxmlformats.org/officeDocument/2006/relationships/tags" Target="../tags/tag41.xml"/><Relationship Id="rId73" Type="http://schemas.openxmlformats.org/officeDocument/2006/relationships/tags" Target="../tags/tag42.xml"/><Relationship Id="rId74" Type="http://schemas.openxmlformats.org/officeDocument/2006/relationships/tags" Target="../tags/tag43.xml"/><Relationship Id="rId75" Type="http://schemas.openxmlformats.org/officeDocument/2006/relationships/tags" Target="../tags/tag44.xml"/><Relationship Id="rId76" Type="http://schemas.openxmlformats.org/officeDocument/2006/relationships/tags" Target="../tags/tag45.xml"/><Relationship Id="rId77" Type="http://schemas.openxmlformats.org/officeDocument/2006/relationships/tags" Target="../tags/tag46.xml"/><Relationship Id="rId78" Type="http://schemas.openxmlformats.org/officeDocument/2006/relationships/tags" Target="../tags/tag47.xml"/><Relationship Id="rId79" Type="http://schemas.openxmlformats.org/officeDocument/2006/relationships/tags" Target="../tags/tag48.xml"/><Relationship Id="rId80" Type="http://schemas.openxmlformats.org/officeDocument/2006/relationships/tags" Target="../tags/tag49.xml"/><Relationship Id="rId81" Type="http://schemas.openxmlformats.org/officeDocument/2006/relationships/tags" Target="../tags/tag50.xml"/><Relationship Id="rId82" Type="http://schemas.openxmlformats.org/officeDocument/2006/relationships/tags" Target="../tags/tag51.xml"/><Relationship Id="rId83" Type="http://schemas.openxmlformats.org/officeDocument/2006/relationships/tags" Target="../tags/tag52.xml"/><Relationship Id="rId84" Type="http://schemas.openxmlformats.org/officeDocument/2006/relationships/tags" Target="../tags/tag53.xml"/><Relationship Id="rId85" Type="http://schemas.openxmlformats.org/officeDocument/2006/relationships/tags" Target="../tags/tag54.xml"/><Relationship Id="rId86" Type="http://schemas.openxmlformats.org/officeDocument/2006/relationships/tags" Target="../tags/tag55.xml"/><Relationship Id="rId87" Type="http://schemas.openxmlformats.org/officeDocument/2006/relationships/tags" Target="../tags/tag56.xml"/><Relationship Id="rId88" Type="http://schemas.openxmlformats.org/officeDocument/2006/relationships/tags" Target="../tags/tag57.xml"/><Relationship Id="rId89" Type="http://schemas.openxmlformats.org/officeDocument/2006/relationships/tags" Target="../tags/tag58.xml"/><Relationship Id="rId90" Type="http://schemas.openxmlformats.org/officeDocument/2006/relationships/tags" Target="../tags/tag59.xml"/><Relationship Id="rId91" Type="http://schemas.openxmlformats.org/officeDocument/2006/relationships/tags" Target="../tags/tag60.xml"/><Relationship Id="rId92" Type="http://schemas.openxmlformats.org/officeDocument/2006/relationships/tags" Target="../tags/tag61.xml"/><Relationship Id="rId93" Type="http://schemas.openxmlformats.org/officeDocument/2006/relationships/tags" Target="../tags/tag62.xml"/><Relationship Id="rId94" Type="http://schemas.openxmlformats.org/officeDocument/2006/relationships/tags" Target="../tags/tag63.xml"/><Relationship Id="rId95" Type="http://schemas.openxmlformats.org/officeDocument/2006/relationships/tags" Target="../tags/tag64.xml"/><Relationship Id="rId96" Type="http://schemas.openxmlformats.org/officeDocument/2006/relationships/tags" Target="../tags/tag65.xml"/><Relationship Id="rId97" Type="http://schemas.openxmlformats.org/officeDocument/2006/relationships/tags" Target="../tags/tag66.xml"/><Relationship Id="rId98" Type="http://schemas.openxmlformats.org/officeDocument/2006/relationships/tags" Target="../tags/tag67.xml"/><Relationship Id="rId99" Type="http://schemas.openxmlformats.org/officeDocument/2006/relationships/tags" Target="../tags/tag68.xml"/><Relationship Id="rId100" Type="http://schemas.openxmlformats.org/officeDocument/2006/relationships/tags" Target="../tags/tag69.xml"/><Relationship Id="rId101" Type="http://schemas.openxmlformats.org/officeDocument/2006/relationships/tags" Target="../tags/tag70.xml"/><Relationship Id="rId102" Type="http://schemas.openxmlformats.org/officeDocument/2006/relationships/tags" Target="../tags/tag71.xml"/><Relationship Id="rId103" Type="http://schemas.openxmlformats.org/officeDocument/2006/relationships/tags" Target="../tags/tag72.xml"/><Relationship Id="rId104" Type="http://schemas.openxmlformats.org/officeDocument/2006/relationships/tags" Target="../tags/tag73.xml"/><Relationship Id="rId105" Type="http://schemas.openxmlformats.org/officeDocument/2006/relationships/tags" Target="../tags/tag74.xml"/><Relationship Id="rId106" Type="http://schemas.openxmlformats.org/officeDocument/2006/relationships/tags" Target="../tags/tag75.xml"/><Relationship Id="rId107" Type="http://schemas.openxmlformats.org/officeDocument/2006/relationships/tags" Target="../tags/tag76.xml"/><Relationship Id="rId108" Type="http://schemas.openxmlformats.org/officeDocument/2006/relationships/tags" Target="../tags/tag77.xml"/><Relationship Id="rId109" Type="http://schemas.openxmlformats.org/officeDocument/2006/relationships/tags" Target="../tags/tag78.xml"/><Relationship Id="rId110" Type="http://schemas.openxmlformats.org/officeDocument/2006/relationships/tags" Target="../tags/tag79.xml"/><Relationship Id="rId111" Type="http://schemas.openxmlformats.org/officeDocument/2006/relationships/tags" Target="../tags/tag80.xml"/><Relationship Id="rId112" Type="http://schemas.openxmlformats.org/officeDocument/2006/relationships/tags" Target="../tags/tag81.xml"/><Relationship Id="rId113" Type="http://schemas.openxmlformats.org/officeDocument/2006/relationships/tags" Target="../tags/tag82.xml"/><Relationship Id="rId114" Type="http://schemas.openxmlformats.org/officeDocument/2006/relationships/tags" Target="../tags/tag83.xml"/><Relationship Id="rId115" Type="http://schemas.openxmlformats.org/officeDocument/2006/relationships/tags" Target="../tags/tag84.xml"/><Relationship Id="rId116" Type="http://schemas.openxmlformats.org/officeDocument/2006/relationships/tags" Target="../tags/tag85.xml"/><Relationship Id="rId117" Type="http://schemas.openxmlformats.org/officeDocument/2006/relationships/tags" Target="../tags/tag86.xml"/><Relationship Id="rId118" Type="http://schemas.openxmlformats.org/officeDocument/2006/relationships/tags" Target="../tags/tag87.xml"/><Relationship Id="rId119" Type="http://schemas.openxmlformats.org/officeDocument/2006/relationships/tags" Target="../tags/tag88.xml"/><Relationship Id="rId120" Type="http://schemas.openxmlformats.org/officeDocument/2006/relationships/tags" Target="../tags/tag89.xml"/><Relationship Id="rId121" Type="http://schemas.openxmlformats.org/officeDocument/2006/relationships/tags" Target="../tags/tag90.xml"/><Relationship Id="rId122" Type="http://schemas.openxmlformats.org/officeDocument/2006/relationships/tags" Target="../tags/tag91.xml"/><Relationship Id="rId123" Type="http://schemas.openxmlformats.org/officeDocument/2006/relationships/tags" Target="../tags/tag92.xml"/><Relationship Id="rId124" Type="http://schemas.openxmlformats.org/officeDocument/2006/relationships/tags" Target="../tags/tag93.xml"/><Relationship Id="rId125" Type="http://schemas.openxmlformats.org/officeDocument/2006/relationships/tags" Target="../tags/tag94.xml"/><Relationship Id="rId126" Type="http://schemas.openxmlformats.org/officeDocument/2006/relationships/tags" Target="../tags/tag95.xml"/><Relationship Id="rId127" Type="http://schemas.openxmlformats.org/officeDocument/2006/relationships/tags" Target="../tags/tag96.xml"/><Relationship Id="rId128" Type="http://schemas.openxmlformats.org/officeDocument/2006/relationships/tags" Target="../tags/tag97.xml"/><Relationship Id="rId129" Type="http://schemas.openxmlformats.org/officeDocument/2006/relationships/tags" Target="../tags/tag98.xml"/><Relationship Id="rId130" Type="http://schemas.openxmlformats.org/officeDocument/2006/relationships/tags" Target="../tags/tag99.xml"/><Relationship Id="rId131" Type="http://schemas.openxmlformats.org/officeDocument/2006/relationships/tags" Target="../tags/tag100.xml"/><Relationship Id="rId132" Type="http://schemas.openxmlformats.org/officeDocument/2006/relationships/tags" Target="../tags/tag101.xml"/><Relationship Id="rId133" Type="http://schemas.openxmlformats.org/officeDocument/2006/relationships/tags" Target="../tags/tag102.xml"/><Relationship Id="rId134" Type="http://schemas.openxmlformats.org/officeDocument/2006/relationships/tags" Target="../tags/tag103.xml"/><Relationship Id="rId135" Type="http://schemas.openxmlformats.org/officeDocument/2006/relationships/tags" Target="../tags/tag104.xml"/><Relationship Id="rId136" Type="http://schemas.openxmlformats.org/officeDocument/2006/relationships/tags" Target="../tags/tag105.xml"/><Relationship Id="rId137" Type="http://schemas.openxmlformats.org/officeDocument/2006/relationships/tags" Target="../tags/tag106.xml"/><Relationship Id="rId138" Type="http://schemas.openxmlformats.org/officeDocument/2006/relationships/tags" Target="../tags/tag107.xml"/><Relationship Id="rId139" Type="http://schemas.openxmlformats.org/officeDocument/2006/relationships/tags" Target="../tags/tag108.xml"/><Relationship Id="rId140" Type="http://schemas.openxmlformats.org/officeDocument/2006/relationships/tags" Target="../tags/tag109.xml"/><Relationship Id="rId141" Type="http://schemas.openxmlformats.org/officeDocument/2006/relationships/tags" Target="../tags/tag110.xml"/><Relationship Id="rId142" Type="http://schemas.openxmlformats.org/officeDocument/2006/relationships/tags" Target="../tags/tag111.xml"/><Relationship Id="rId143" Type="http://schemas.openxmlformats.org/officeDocument/2006/relationships/tags" Target="../tags/tag112.xml"/><Relationship Id="rId144" Type="http://schemas.openxmlformats.org/officeDocument/2006/relationships/tags" Target="../tags/tag113.xml"/><Relationship Id="rId145" Type="http://schemas.openxmlformats.org/officeDocument/2006/relationships/tags" Target="../tags/tag114.xml"/><Relationship Id="rId146" Type="http://schemas.openxmlformats.org/officeDocument/2006/relationships/tags" Target="../tags/tag115.xml"/><Relationship Id="rId147" Type="http://schemas.openxmlformats.org/officeDocument/2006/relationships/tags" Target="../tags/tag116.xml"/><Relationship Id="rId148" Type="http://schemas.openxmlformats.org/officeDocument/2006/relationships/tags" Target="../tags/tag117.xml"/><Relationship Id="rId149" Type="http://schemas.openxmlformats.org/officeDocument/2006/relationships/tags" Target="../tags/tag118.xml"/><Relationship Id="rId150" Type="http://schemas.openxmlformats.org/officeDocument/2006/relationships/tags" Target="../tags/tag119.xml"/><Relationship Id="rId151" Type="http://schemas.openxmlformats.org/officeDocument/2006/relationships/tags" Target="../tags/tag120.xml"/><Relationship Id="rId152" Type="http://schemas.openxmlformats.org/officeDocument/2006/relationships/tags" Target="../tags/tag121.xml"/><Relationship Id="rId153" Type="http://schemas.openxmlformats.org/officeDocument/2006/relationships/tags" Target="../tags/tag122.xml"/><Relationship Id="rId154" Type="http://schemas.openxmlformats.org/officeDocument/2006/relationships/tags" Target="../tags/tag123.xml"/><Relationship Id="rId155" Type="http://schemas.openxmlformats.org/officeDocument/2006/relationships/tags" Target="../tags/tag124.xml"/><Relationship Id="rId156" Type="http://schemas.openxmlformats.org/officeDocument/2006/relationships/tags" Target="../tags/tag125.xml"/><Relationship Id="rId157" Type="http://schemas.openxmlformats.org/officeDocument/2006/relationships/oleObject" Target="../embeddings/oleObject1.bin"/><Relationship Id="rId158" Type="http://schemas.openxmlformats.org/officeDocument/2006/relationships/image" Target="../media/image1.emf"/></Relationships>
</file>

<file path=ppt/slideMasters/_rels/slideMaster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2.xml"/><Relationship Id="rId2" Type="http://schemas.openxmlformats.org/officeDocument/2006/relationships/slideLayout" Target="../slideLayouts/slideLayout33.xml"/><Relationship Id="rId3" Type="http://schemas.openxmlformats.org/officeDocument/2006/relationships/slideLayout" Target="../slideLayouts/slideLayout34.xml"/><Relationship Id="rId4" Type="http://schemas.openxmlformats.org/officeDocument/2006/relationships/slideLayout" Target="../slideLayouts/slideLayout35.xml"/><Relationship Id="rId5" Type="http://schemas.openxmlformats.org/officeDocument/2006/relationships/slideLayout" Target="../slideLayouts/slideLayout36.xml"/><Relationship Id="rId6" Type="http://schemas.openxmlformats.org/officeDocument/2006/relationships/slideLayout" Target="../slideLayouts/slideLayout37.xml"/><Relationship Id="rId7" Type="http://schemas.openxmlformats.org/officeDocument/2006/relationships/slideLayout" Target="../slideLayouts/slideLayout38.xml"/><Relationship Id="rId8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46.xml"/><Relationship Id="rId16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49.xml"/><Relationship Id="rId19" Type="http://schemas.openxmlformats.org/officeDocument/2006/relationships/slideLayout" Target="../slideLayouts/slideLayout50.xml"/><Relationship Id="rId20" Type="http://schemas.openxmlformats.org/officeDocument/2006/relationships/theme" Target="../theme/theme2.xml"/><Relationship Id="rId21" Type="http://schemas.openxmlformats.org/officeDocument/2006/relationships/tags" Target="../tags/tag128.xml"/><Relationship Id="rId22" Type="http://schemas.openxmlformats.org/officeDocument/2006/relationships/oleObject" Target="../embeddings/oleObject4.bin"/><Relationship Id="rId23" Type="http://schemas.openxmlformats.org/officeDocument/2006/relationships/image" Target="../media/image5.emf"/></Relationships>
</file>

<file path=ppt/slideMasters/_rels/slideMaster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51.xml"/><Relationship Id="rId2" Type="http://schemas.openxmlformats.org/officeDocument/2006/relationships/slideLayout" Target="../slideLayouts/slideLayout52.xml"/><Relationship Id="rId3" Type="http://schemas.openxmlformats.org/officeDocument/2006/relationships/slideLayout" Target="../slideLayouts/slideLayout53.xml"/><Relationship Id="rId4" Type="http://schemas.openxmlformats.org/officeDocument/2006/relationships/slideLayout" Target="../slideLayouts/slideLayout54.xml"/><Relationship Id="rId5" Type="http://schemas.openxmlformats.org/officeDocument/2006/relationships/slideLayout" Target="../slideLayouts/slideLayout55.xml"/><Relationship Id="rId6" Type="http://schemas.openxmlformats.org/officeDocument/2006/relationships/slideLayout" Target="../slideLayouts/slideLayout56.xml"/><Relationship Id="rId7" Type="http://schemas.openxmlformats.org/officeDocument/2006/relationships/slideLayout" Target="../slideLayouts/slideLayout57.xml"/><Relationship Id="rId8" Type="http://schemas.openxmlformats.org/officeDocument/2006/relationships/slideLayout" Target="../slideLayouts/slideLayout58.xml"/><Relationship Id="rId9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2.xml"/><Relationship Id="rId13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65.xml"/><Relationship Id="rId16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67.xml"/><Relationship Id="rId18" Type="http://schemas.openxmlformats.org/officeDocument/2006/relationships/slideLayout" Target="../slideLayouts/slideLayout68.xml"/><Relationship Id="rId19" Type="http://schemas.openxmlformats.org/officeDocument/2006/relationships/slideLayout" Target="../slideLayouts/slideLayout69.xml"/><Relationship Id="rId20" Type="http://schemas.openxmlformats.org/officeDocument/2006/relationships/theme" Target="../theme/theme3.xml"/><Relationship Id="rId21" Type="http://schemas.openxmlformats.org/officeDocument/2006/relationships/tags" Target="../tags/tag129.xml"/><Relationship Id="rId22" Type="http://schemas.openxmlformats.org/officeDocument/2006/relationships/oleObject" Target="../embeddings/oleObject5.bin"/><Relationship Id="rId23" Type="http://schemas.openxmlformats.org/officeDocument/2006/relationships/image" Target="../media/image5.emf"/></Relationships>
</file>

<file path=ppt/slideMasters/_rels/slideMaster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70.xml"/><Relationship Id="rId2" Type="http://schemas.openxmlformats.org/officeDocument/2006/relationships/slideLayout" Target="../slideLayouts/slideLayout71.xml"/><Relationship Id="rId3" Type="http://schemas.openxmlformats.org/officeDocument/2006/relationships/slideLayout" Target="../slideLayouts/slideLayout72.xml"/><Relationship Id="rId4" Type="http://schemas.openxmlformats.org/officeDocument/2006/relationships/slideLayout" Target="../slideLayouts/slideLayout73.xml"/><Relationship Id="rId5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6.xml"/><Relationship Id="rId8" Type="http://schemas.openxmlformats.org/officeDocument/2006/relationships/slideLayout" Target="../slideLayouts/slideLayout77.xml"/><Relationship Id="rId9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1.xml"/><Relationship Id="rId13" Type="http://schemas.openxmlformats.org/officeDocument/2006/relationships/slideLayout" Target="../slideLayouts/slideLayout82.xml"/><Relationship Id="rId14" Type="http://schemas.openxmlformats.org/officeDocument/2006/relationships/slideLayout" Target="../slideLayouts/slideLayout83.xml"/><Relationship Id="rId15" Type="http://schemas.openxmlformats.org/officeDocument/2006/relationships/slideLayout" Target="../slideLayouts/slideLayout84.xml"/><Relationship Id="rId16" Type="http://schemas.openxmlformats.org/officeDocument/2006/relationships/slideLayout" Target="../slideLayouts/slideLayout85.xml"/><Relationship Id="rId17" Type="http://schemas.openxmlformats.org/officeDocument/2006/relationships/slideLayout" Target="../slideLayouts/slideLayout86.xml"/><Relationship Id="rId18" Type="http://schemas.openxmlformats.org/officeDocument/2006/relationships/slideLayout" Target="../slideLayouts/slideLayout87.xml"/><Relationship Id="rId19" Type="http://schemas.openxmlformats.org/officeDocument/2006/relationships/slideLayout" Target="../slideLayouts/slideLayout88.xml"/><Relationship Id="rId20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90.xml"/><Relationship Id="rId22" Type="http://schemas.openxmlformats.org/officeDocument/2006/relationships/slideLayout" Target="../slideLayouts/slideLayout91.xml"/><Relationship Id="rId23" Type="http://schemas.openxmlformats.org/officeDocument/2006/relationships/slideLayout" Target="../slideLayouts/slideLayout92.xml"/><Relationship Id="rId24" Type="http://schemas.openxmlformats.org/officeDocument/2006/relationships/slideLayout" Target="../slideLayouts/slideLayout93.xml"/><Relationship Id="rId25" Type="http://schemas.openxmlformats.org/officeDocument/2006/relationships/slideLayout" Target="../slideLayouts/slideLayout94.xml"/><Relationship Id="rId26" Type="http://schemas.openxmlformats.org/officeDocument/2006/relationships/slideLayout" Target="../slideLayouts/slideLayout95.xml"/><Relationship Id="rId27" Type="http://schemas.openxmlformats.org/officeDocument/2006/relationships/slideLayout" Target="../slideLayouts/slideLayout96.xml"/><Relationship Id="rId28" Type="http://schemas.openxmlformats.org/officeDocument/2006/relationships/slideLayout" Target="../slideLayouts/slideLayout97.xml"/><Relationship Id="rId29" Type="http://schemas.openxmlformats.org/officeDocument/2006/relationships/slideLayout" Target="../slideLayouts/slideLayout98.xml"/><Relationship Id="rId30" Type="http://schemas.openxmlformats.org/officeDocument/2006/relationships/slideLayout" Target="../slideLayouts/slideLayout99.xml"/><Relationship Id="rId31" Type="http://schemas.openxmlformats.org/officeDocument/2006/relationships/theme" Target="../theme/theme4.xml"/><Relationship Id="rId32" Type="http://schemas.openxmlformats.org/officeDocument/2006/relationships/tags" Target="../tags/tag130.xml"/><Relationship Id="rId33" Type="http://schemas.openxmlformats.org/officeDocument/2006/relationships/tags" Target="../tags/tag131.xml"/><Relationship Id="rId34" Type="http://schemas.openxmlformats.org/officeDocument/2006/relationships/tags" Target="../tags/tag132.xml"/><Relationship Id="rId35" Type="http://schemas.openxmlformats.org/officeDocument/2006/relationships/tags" Target="../tags/tag133.xml"/><Relationship Id="rId36" Type="http://schemas.openxmlformats.org/officeDocument/2006/relationships/tags" Target="../tags/tag134.xml"/><Relationship Id="rId37" Type="http://schemas.openxmlformats.org/officeDocument/2006/relationships/tags" Target="../tags/tag135.xml"/><Relationship Id="rId38" Type="http://schemas.openxmlformats.org/officeDocument/2006/relationships/tags" Target="../tags/tag136.xml"/><Relationship Id="rId39" Type="http://schemas.openxmlformats.org/officeDocument/2006/relationships/tags" Target="../tags/tag137.xml"/><Relationship Id="rId40" Type="http://schemas.openxmlformats.org/officeDocument/2006/relationships/tags" Target="../tags/tag138.xml"/><Relationship Id="rId41" Type="http://schemas.openxmlformats.org/officeDocument/2006/relationships/tags" Target="../tags/tag139.xml"/><Relationship Id="rId42" Type="http://schemas.openxmlformats.org/officeDocument/2006/relationships/tags" Target="../tags/tag140.xml"/><Relationship Id="rId43" Type="http://schemas.openxmlformats.org/officeDocument/2006/relationships/tags" Target="../tags/tag141.xml"/><Relationship Id="rId44" Type="http://schemas.openxmlformats.org/officeDocument/2006/relationships/tags" Target="../tags/tag142.xml"/><Relationship Id="rId45" Type="http://schemas.openxmlformats.org/officeDocument/2006/relationships/tags" Target="../tags/tag143.xml"/><Relationship Id="rId46" Type="http://schemas.openxmlformats.org/officeDocument/2006/relationships/tags" Target="../tags/tag144.xml"/><Relationship Id="rId47" Type="http://schemas.openxmlformats.org/officeDocument/2006/relationships/tags" Target="../tags/tag145.xml"/><Relationship Id="rId48" Type="http://schemas.openxmlformats.org/officeDocument/2006/relationships/tags" Target="../tags/tag146.xml"/><Relationship Id="rId49" Type="http://schemas.openxmlformats.org/officeDocument/2006/relationships/tags" Target="../tags/tag147.xml"/><Relationship Id="rId50" Type="http://schemas.openxmlformats.org/officeDocument/2006/relationships/tags" Target="../tags/tag148.xml"/><Relationship Id="rId51" Type="http://schemas.openxmlformats.org/officeDocument/2006/relationships/tags" Target="../tags/tag149.xml"/><Relationship Id="rId52" Type="http://schemas.openxmlformats.org/officeDocument/2006/relationships/tags" Target="../tags/tag150.xml"/><Relationship Id="rId53" Type="http://schemas.openxmlformats.org/officeDocument/2006/relationships/tags" Target="../tags/tag151.xml"/><Relationship Id="rId54" Type="http://schemas.openxmlformats.org/officeDocument/2006/relationships/tags" Target="../tags/tag152.xml"/><Relationship Id="rId55" Type="http://schemas.openxmlformats.org/officeDocument/2006/relationships/tags" Target="../tags/tag153.xml"/><Relationship Id="rId56" Type="http://schemas.openxmlformats.org/officeDocument/2006/relationships/tags" Target="../tags/tag154.xml"/><Relationship Id="rId57" Type="http://schemas.openxmlformats.org/officeDocument/2006/relationships/tags" Target="../tags/tag155.xml"/><Relationship Id="rId58" Type="http://schemas.openxmlformats.org/officeDocument/2006/relationships/tags" Target="../tags/tag156.xml"/><Relationship Id="rId59" Type="http://schemas.openxmlformats.org/officeDocument/2006/relationships/tags" Target="../tags/tag157.xml"/><Relationship Id="rId60" Type="http://schemas.openxmlformats.org/officeDocument/2006/relationships/tags" Target="../tags/tag158.xml"/><Relationship Id="rId61" Type="http://schemas.openxmlformats.org/officeDocument/2006/relationships/tags" Target="../tags/tag159.xml"/><Relationship Id="rId62" Type="http://schemas.openxmlformats.org/officeDocument/2006/relationships/tags" Target="../tags/tag160.xml"/><Relationship Id="rId63" Type="http://schemas.openxmlformats.org/officeDocument/2006/relationships/tags" Target="../tags/tag161.xml"/><Relationship Id="rId64" Type="http://schemas.openxmlformats.org/officeDocument/2006/relationships/tags" Target="../tags/tag162.xml"/><Relationship Id="rId65" Type="http://schemas.openxmlformats.org/officeDocument/2006/relationships/tags" Target="../tags/tag163.xml"/><Relationship Id="rId66" Type="http://schemas.openxmlformats.org/officeDocument/2006/relationships/tags" Target="../tags/tag164.xml"/><Relationship Id="rId67" Type="http://schemas.openxmlformats.org/officeDocument/2006/relationships/tags" Target="../tags/tag165.xml"/><Relationship Id="rId68" Type="http://schemas.openxmlformats.org/officeDocument/2006/relationships/tags" Target="../tags/tag166.xml"/><Relationship Id="rId69" Type="http://schemas.openxmlformats.org/officeDocument/2006/relationships/tags" Target="../tags/tag167.xml"/><Relationship Id="rId70" Type="http://schemas.openxmlformats.org/officeDocument/2006/relationships/tags" Target="../tags/tag168.xml"/><Relationship Id="rId71" Type="http://schemas.openxmlformats.org/officeDocument/2006/relationships/tags" Target="../tags/tag169.xml"/><Relationship Id="rId72" Type="http://schemas.openxmlformats.org/officeDocument/2006/relationships/tags" Target="../tags/tag170.xml"/><Relationship Id="rId73" Type="http://schemas.openxmlformats.org/officeDocument/2006/relationships/tags" Target="../tags/tag171.xml"/><Relationship Id="rId74" Type="http://schemas.openxmlformats.org/officeDocument/2006/relationships/tags" Target="../tags/tag172.xml"/><Relationship Id="rId75" Type="http://schemas.openxmlformats.org/officeDocument/2006/relationships/tags" Target="../tags/tag173.xml"/><Relationship Id="rId76" Type="http://schemas.openxmlformats.org/officeDocument/2006/relationships/tags" Target="../tags/tag174.xml"/><Relationship Id="rId77" Type="http://schemas.openxmlformats.org/officeDocument/2006/relationships/tags" Target="../tags/tag175.xml"/><Relationship Id="rId78" Type="http://schemas.openxmlformats.org/officeDocument/2006/relationships/tags" Target="../tags/tag176.xml"/><Relationship Id="rId79" Type="http://schemas.openxmlformats.org/officeDocument/2006/relationships/tags" Target="../tags/tag177.xml"/><Relationship Id="rId80" Type="http://schemas.openxmlformats.org/officeDocument/2006/relationships/tags" Target="../tags/tag178.xml"/><Relationship Id="rId81" Type="http://schemas.openxmlformats.org/officeDocument/2006/relationships/tags" Target="../tags/tag179.xml"/><Relationship Id="rId82" Type="http://schemas.openxmlformats.org/officeDocument/2006/relationships/tags" Target="../tags/tag180.xml"/><Relationship Id="rId83" Type="http://schemas.openxmlformats.org/officeDocument/2006/relationships/tags" Target="../tags/tag181.xml"/><Relationship Id="rId84" Type="http://schemas.openxmlformats.org/officeDocument/2006/relationships/tags" Target="../tags/tag182.xml"/><Relationship Id="rId85" Type="http://schemas.openxmlformats.org/officeDocument/2006/relationships/tags" Target="../tags/tag183.xml"/><Relationship Id="rId86" Type="http://schemas.openxmlformats.org/officeDocument/2006/relationships/tags" Target="../tags/tag184.xml"/><Relationship Id="rId87" Type="http://schemas.openxmlformats.org/officeDocument/2006/relationships/tags" Target="../tags/tag185.xml"/><Relationship Id="rId88" Type="http://schemas.openxmlformats.org/officeDocument/2006/relationships/tags" Target="../tags/tag186.xml"/><Relationship Id="rId89" Type="http://schemas.openxmlformats.org/officeDocument/2006/relationships/tags" Target="../tags/tag187.xml"/><Relationship Id="rId90" Type="http://schemas.openxmlformats.org/officeDocument/2006/relationships/tags" Target="../tags/tag188.xml"/><Relationship Id="rId91" Type="http://schemas.openxmlformats.org/officeDocument/2006/relationships/tags" Target="../tags/tag189.xml"/><Relationship Id="rId92" Type="http://schemas.openxmlformats.org/officeDocument/2006/relationships/tags" Target="../tags/tag190.xml"/><Relationship Id="rId93" Type="http://schemas.openxmlformats.org/officeDocument/2006/relationships/tags" Target="../tags/tag191.xml"/><Relationship Id="rId94" Type="http://schemas.openxmlformats.org/officeDocument/2006/relationships/tags" Target="../tags/tag192.xml"/><Relationship Id="rId95" Type="http://schemas.openxmlformats.org/officeDocument/2006/relationships/tags" Target="../tags/tag193.xml"/><Relationship Id="rId96" Type="http://schemas.openxmlformats.org/officeDocument/2006/relationships/tags" Target="../tags/tag194.xml"/><Relationship Id="rId97" Type="http://schemas.openxmlformats.org/officeDocument/2006/relationships/tags" Target="../tags/tag195.xml"/><Relationship Id="rId98" Type="http://schemas.openxmlformats.org/officeDocument/2006/relationships/tags" Target="../tags/tag196.xml"/><Relationship Id="rId99" Type="http://schemas.openxmlformats.org/officeDocument/2006/relationships/tags" Target="../tags/tag197.xml"/><Relationship Id="rId100" Type="http://schemas.openxmlformats.org/officeDocument/2006/relationships/tags" Target="../tags/tag198.xml"/><Relationship Id="rId101" Type="http://schemas.openxmlformats.org/officeDocument/2006/relationships/tags" Target="../tags/tag199.xml"/><Relationship Id="rId102" Type="http://schemas.openxmlformats.org/officeDocument/2006/relationships/tags" Target="../tags/tag200.xml"/><Relationship Id="rId103" Type="http://schemas.openxmlformats.org/officeDocument/2006/relationships/tags" Target="../tags/tag201.xml"/><Relationship Id="rId104" Type="http://schemas.openxmlformats.org/officeDocument/2006/relationships/tags" Target="../tags/tag202.xml"/><Relationship Id="rId105" Type="http://schemas.openxmlformats.org/officeDocument/2006/relationships/tags" Target="../tags/tag203.xml"/><Relationship Id="rId106" Type="http://schemas.openxmlformats.org/officeDocument/2006/relationships/tags" Target="../tags/tag204.xml"/><Relationship Id="rId107" Type="http://schemas.openxmlformats.org/officeDocument/2006/relationships/tags" Target="../tags/tag205.xml"/><Relationship Id="rId108" Type="http://schemas.openxmlformats.org/officeDocument/2006/relationships/tags" Target="../tags/tag206.xml"/><Relationship Id="rId109" Type="http://schemas.openxmlformats.org/officeDocument/2006/relationships/tags" Target="../tags/tag207.xml"/><Relationship Id="rId110" Type="http://schemas.openxmlformats.org/officeDocument/2006/relationships/tags" Target="../tags/tag208.xml"/><Relationship Id="rId111" Type="http://schemas.openxmlformats.org/officeDocument/2006/relationships/tags" Target="../tags/tag209.xml"/><Relationship Id="rId112" Type="http://schemas.openxmlformats.org/officeDocument/2006/relationships/tags" Target="../tags/tag210.xml"/><Relationship Id="rId113" Type="http://schemas.openxmlformats.org/officeDocument/2006/relationships/tags" Target="../tags/tag211.xml"/><Relationship Id="rId114" Type="http://schemas.openxmlformats.org/officeDocument/2006/relationships/tags" Target="../tags/tag212.xml"/><Relationship Id="rId115" Type="http://schemas.openxmlformats.org/officeDocument/2006/relationships/tags" Target="../tags/tag213.xml"/><Relationship Id="rId116" Type="http://schemas.openxmlformats.org/officeDocument/2006/relationships/tags" Target="../tags/tag214.xml"/><Relationship Id="rId117" Type="http://schemas.openxmlformats.org/officeDocument/2006/relationships/tags" Target="../tags/tag215.xml"/><Relationship Id="rId118" Type="http://schemas.openxmlformats.org/officeDocument/2006/relationships/tags" Target="../tags/tag216.xml"/><Relationship Id="rId119" Type="http://schemas.openxmlformats.org/officeDocument/2006/relationships/tags" Target="../tags/tag217.xml"/><Relationship Id="rId120" Type="http://schemas.openxmlformats.org/officeDocument/2006/relationships/tags" Target="../tags/tag218.xml"/><Relationship Id="rId121" Type="http://schemas.openxmlformats.org/officeDocument/2006/relationships/tags" Target="../tags/tag219.xml"/><Relationship Id="rId122" Type="http://schemas.openxmlformats.org/officeDocument/2006/relationships/tags" Target="../tags/tag220.xml"/><Relationship Id="rId123" Type="http://schemas.openxmlformats.org/officeDocument/2006/relationships/tags" Target="../tags/tag221.xml"/><Relationship Id="rId124" Type="http://schemas.openxmlformats.org/officeDocument/2006/relationships/tags" Target="../tags/tag222.xml"/><Relationship Id="rId125" Type="http://schemas.openxmlformats.org/officeDocument/2006/relationships/tags" Target="../tags/tag223.xml"/><Relationship Id="rId126" Type="http://schemas.openxmlformats.org/officeDocument/2006/relationships/tags" Target="../tags/tag224.xml"/><Relationship Id="rId127" Type="http://schemas.openxmlformats.org/officeDocument/2006/relationships/tags" Target="../tags/tag225.xml"/><Relationship Id="rId128" Type="http://schemas.openxmlformats.org/officeDocument/2006/relationships/tags" Target="../tags/tag226.xml"/><Relationship Id="rId129" Type="http://schemas.openxmlformats.org/officeDocument/2006/relationships/tags" Target="../tags/tag227.xml"/><Relationship Id="rId130" Type="http://schemas.openxmlformats.org/officeDocument/2006/relationships/tags" Target="../tags/tag228.xml"/><Relationship Id="rId131" Type="http://schemas.openxmlformats.org/officeDocument/2006/relationships/tags" Target="../tags/tag229.xml"/><Relationship Id="rId132" Type="http://schemas.openxmlformats.org/officeDocument/2006/relationships/tags" Target="../tags/tag230.xml"/><Relationship Id="rId133" Type="http://schemas.openxmlformats.org/officeDocument/2006/relationships/tags" Target="../tags/tag231.xml"/><Relationship Id="rId134" Type="http://schemas.openxmlformats.org/officeDocument/2006/relationships/tags" Target="../tags/tag232.xml"/><Relationship Id="rId135" Type="http://schemas.openxmlformats.org/officeDocument/2006/relationships/tags" Target="../tags/tag233.xml"/><Relationship Id="rId136" Type="http://schemas.openxmlformats.org/officeDocument/2006/relationships/tags" Target="../tags/tag234.xml"/><Relationship Id="rId137" Type="http://schemas.openxmlformats.org/officeDocument/2006/relationships/tags" Target="../tags/tag235.xml"/><Relationship Id="rId138" Type="http://schemas.openxmlformats.org/officeDocument/2006/relationships/tags" Target="../tags/tag236.xml"/><Relationship Id="rId139" Type="http://schemas.openxmlformats.org/officeDocument/2006/relationships/tags" Target="../tags/tag237.xml"/><Relationship Id="rId140" Type="http://schemas.openxmlformats.org/officeDocument/2006/relationships/tags" Target="../tags/tag238.xml"/><Relationship Id="rId141" Type="http://schemas.openxmlformats.org/officeDocument/2006/relationships/tags" Target="../tags/tag239.xml"/><Relationship Id="rId142" Type="http://schemas.openxmlformats.org/officeDocument/2006/relationships/tags" Target="../tags/tag240.xml"/><Relationship Id="rId143" Type="http://schemas.openxmlformats.org/officeDocument/2006/relationships/tags" Target="../tags/tag241.xml"/><Relationship Id="rId144" Type="http://schemas.openxmlformats.org/officeDocument/2006/relationships/tags" Target="../tags/tag242.xml"/><Relationship Id="rId145" Type="http://schemas.openxmlformats.org/officeDocument/2006/relationships/tags" Target="../tags/tag243.xml"/><Relationship Id="rId146" Type="http://schemas.openxmlformats.org/officeDocument/2006/relationships/tags" Target="../tags/tag244.xml"/><Relationship Id="rId147" Type="http://schemas.openxmlformats.org/officeDocument/2006/relationships/tags" Target="../tags/tag245.xml"/><Relationship Id="rId148" Type="http://schemas.openxmlformats.org/officeDocument/2006/relationships/tags" Target="../tags/tag246.xml"/><Relationship Id="rId149" Type="http://schemas.openxmlformats.org/officeDocument/2006/relationships/tags" Target="../tags/tag247.xml"/><Relationship Id="rId150" Type="http://schemas.openxmlformats.org/officeDocument/2006/relationships/tags" Target="../tags/tag248.xml"/><Relationship Id="rId151" Type="http://schemas.openxmlformats.org/officeDocument/2006/relationships/tags" Target="../tags/tag249.xml"/><Relationship Id="rId152" Type="http://schemas.openxmlformats.org/officeDocument/2006/relationships/tags" Target="../tags/tag250.xml"/><Relationship Id="rId153" Type="http://schemas.openxmlformats.org/officeDocument/2006/relationships/tags" Target="../tags/tag251.xml"/><Relationship Id="rId154" Type="http://schemas.openxmlformats.org/officeDocument/2006/relationships/tags" Target="../tags/tag252.xml"/><Relationship Id="rId155" Type="http://schemas.openxmlformats.org/officeDocument/2006/relationships/tags" Target="../tags/tag253.xml"/><Relationship Id="rId156" Type="http://schemas.openxmlformats.org/officeDocument/2006/relationships/oleObject" Target="../embeddings/oleObject6.bin"/><Relationship Id="rId15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2" name="think-cell data - do not delete" hidden="1">
            <a:extLst>
              <a:ext uri="{FF2B5EF4-FFF2-40B4-BE49-F238E27FC236}">
                <a16:creationId xmlns:a16="http://schemas.microsoft.com/office/drawing/2014/main" id="{42380D68-F00C-BE6C-A1F0-DAEA038F31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3713992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7" imgW="306" imgH="306" progId="TCLayout.ActiveDocument.1">
                  <p:embed/>
                </p:oleObj>
              </mc:Choice>
              <mc:Fallback>
                <p:oleObj name="think-cell Slide" r:id="rId157" imgW="306" imgH="306" progId="TCLayout.ActiveDocument.1">
                  <p:embed/>
                  <p:pic>
                    <p:nvPicPr>
                      <p:cNvPr id="1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380D68-F00C-BE6C-A1F0-DAEA038F31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ackground">
            <a:extLst>
              <a:ext uri="{FF2B5EF4-FFF2-40B4-BE49-F238E27FC236}">
                <a16:creationId xmlns:a16="http://schemas.microsoft.com/office/drawing/2014/main" id="{57293E41-954C-9E9C-7DE2-32FEDBD5A1C6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4" name="Slide number"/>
          <p:cNvSpPr txBox="1"/>
          <p:nvPr userDrawn="1"/>
        </p:nvSpPr>
        <p:spPr bwMode="black">
          <a:xfrm>
            <a:off x="11546207" y="6536751"/>
            <a:ext cx="144270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b="0" i="0" noProof="0" smtClean="0">
                <a:latin typeface="+mn-lt"/>
              </a:rPr>
              <a:pPr marL="0" lvl="0" indent="0" algn="r">
                <a:buNone/>
              </a:pPr>
              <a:t>‹Nr.›</a:t>
            </a:fld>
            <a:endParaRPr lang="en-US" sz="900" b="0" i="0" noProof="0">
              <a:latin typeface="+mn-lt"/>
            </a:endParaRPr>
          </a:p>
        </p:txBody>
      </p:sp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4001" y="1548560"/>
            <a:ext cx="11186476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4001" y="504000"/>
            <a:ext cx="1118647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Insert page title (sentence case)</a:t>
            </a:r>
          </a:p>
        </p:txBody>
      </p:sp>
      <p:grpSp>
        <p:nvGrpSpPr>
          <p:cNvPr id="6" name="Harvey 3" hidden="1">
            <a:extLst>
              <a:ext uri="{FF2B5EF4-FFF2-40B4-BE49-F238E27FC236}">
                <a16:creationId xmlns:a16="http://schemas.microsoft.com/office/drawing/2014/main" id="{B3E7C216-6801-4AB8-8D95-E7D60F39B210}"/>
              </a:ext>
            </a:extLst>
          </p:cNvPr>
          <p:cNvGrpSpPr>
            <a:grpSpLocks/>
          </p:cNvGrpSpPr>
          <p:nvPr userDrawn="1">
            <p:custDataLst>
              <p:tags r:id="rId34"/>
            </p:custDataLst>
          </p:nvPr>
        </p:nvGrpSpPr>
        <p:grpSpPr>
          <a:xfrm>
            <a:off x="3938798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7" name="Harvey 0/3 [0]">
              <a:extLst>
                <a:ext uri="{FF2B5EF4-FFF2-40B4-BE49-F238E27FC236}">
                  <a16:creationId xmlns:a16="http://schemas.microsoft.com/office/drawing/2014/main" id="{FC8CECD5-A3FB-4DD5-A846-DC09FDB6EB04}"/>
                </a:ext>
              </a:extLst>
            </p:cNvPr>
            <p:cNvSpPr>
              <a:spLocks noChangeAspect="1"/>
            </p:cNvSpPr>
            <p:nvPr>
              <p:custDataLst>
                <p:tags r:id="rId15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" name="Harvey 1/3 [1]">
              <a:extLst>
                <a:ext uri="{FF2B5EF4-FFF2-40B4-BE49-F238E27FC236}">
                  <a16:creationId xmlns:a16="http://schemas.microsoft.com/office/drawing/2014/main" id="{750B853B-8389-4427-AFB9-1CE880FE9BEE}"/>
                </a:ext>
              </a:extLst>
            </p:cNvPr>
            <p:cNvSpPr>
              <a:spLocks noChangeAspect="1"/>
            </p:cNvSpPr>
            <p:nvPr>
              <p:custDataLst>
                <p:tags r:id="rId15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" name="Harvey 2/3 [2]">
              <a:extLst>
                <a:ext uri="{FF2B5EF4-FFF2-40B4-BE49-F238E27FC236}">
                  <a16:creationId xmlns:a16="http://schemas.microsoft.com/office/drawing/2014/main" id="{0CA9A207-7055-4A72-8ED2-D82605C3D0C8}"/>
                </a:ext>
              </a:extLst>
            </p:cNvPr>
            <p:cNvSpPr>
              <a:spLocks noChangeAspect="1"/>
            </p:cNvSpPr>
            <p:nvPr>
              <p:custDataLst>
                <p:tags r:id="rId15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" name="Harvey 3/3 [3]">
              <a:extLst>
                <a:ext uri="{FF2B5EF4-FFF2-40B4-BE49-F238E27FC236}">
                  <a16:creationId xmlns:a16="http://schemas.microsoft.com/office/drawing/2014/main" id="{4422C816-875A-41F5-9DC0-8DBAE4C5C6CB}"/>
                </a:ext>
              </a:extLst>
            </p:cNvPr>
            <p:cNvSpPr>
              <a:spLocks noChangeAspect="1"/>
            </p:cNvSpPr>
            <p:nvPr>
              <p:custDataLst>
                <p:tags r:id="rId15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1" name="Harvey 4" hidden="1">
            <a:extLst>
              <a:ext uri="{FF2B5EF4-FFF2-40B4-BE49-F238E27FC236}">
                <a16:creationId xmlns:a16="http://schemas.microsoft.com/office/drawing/2014/main" id="{DDC5C333-7028-4F79-8940-98DC17723588}"/>
              </a:ext>
            </a:extLst>
          </p:cNvPr>
          <p:cNvGrpSpPr>
            <a:grpSpLocks/>
          </p:cNvGrpSpPr>
          <p:nvPr userDrawn="1">
            <p:custDataLst>
              <p:tags r:id="rId35"/>
            </p:custDataLst>
          </p:nvPr>
        </p:nvGrpSpPr>
        <p:grpSpPr>
          <a:xfrm>
            <a:off x="5391506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3" name="Harvey 0/4 [0]">
              <a:extLst>
                <a:ext uri="{FF2B5EF4-FFF2-40B4-BE49-F238E27FC236}">
                  <a16:creationId xmlns:a16="http://schemas.microsoft.com/office/drawing/2014/main" id="{70B331E2-39A8-4BAF-8DDD-C631B51EB56E}"/>
                </a:ext>
              </a:extLst>
            </p:cNvPr>
            <p:cNvSpPr>
              <a:spLocks noChangeAspect="1"/>
            </p:cNvSpPr>
            <p:nvPr>
              <p:custDataLst>
                <p:tags r:id="rId14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" name="Harvey 1/4 [1]">
              <a:extLst>
                <a:ext uri="{FF2B5EF4-FFF2-40B4-BE49-F238E27FC236}">
                  <a16:creationId xmlns:a16="http://schemas.microsoft.com/office/drawing/2014/main" id="{47F66FBA-2801-4875-BD13-0BF512FC3C6A}"/>
                </a:ext>
              </a:extLst>
            </p:cNvPr>
            <p:cNvSpPr>
              <a:spLocks noChangeAspect="1"/>
            </p:cNvSpPr>
            <p:nvPr>
              <p:custDataLst>
                <p:tags r:id="rId14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Harvey 2/4 [2]">
              <a:extLst>
                <a:ext uri="{FF2B5EF4-FFF2-40B4-BE49-F238E27FC236}">
                  <a16:creationId xmlns:a16="http://schemas.microsoft.com/office/drawing/2014/main" id="{99673DAB-5272-45DC-B222-CA8CAA9FD2BB}"/>
                </a:ext>
              </a:extLst>
            </p:cNvPr>
            <p:cNvSpPr>
              <a:spLocks noChangeAspect="1"/>
            </p:cNvSpPr>
            <p:nvPr>
              <p:custDataLst>
                <p:tags r:id="rId15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" name="Harvey 3/4 [3]">
              <a:extLst>
                <a:ext uri="{FF2B5EF4-FFF2-40B4-BE49-F238E27FC236}">
                  <a16:creationId xmlns:a16="http://schemas.microsoft.com/office/drawing/2014/main" id="{F9B9444B-C98D-45FC-BA92-881D06827328}"/>
                </a:ext>
              </a:extLst>
            </p:cNvPr>
            <p:cNvSpPr>
              <a:spLocks noChangeAspect="1"/>
            </p:cNvSpPr>
            <p:nvPr>
              <p:custDataLst>
                <p:tags r:id="rId15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" name="Harvey 4/4 [4]">
              <a:extLst>
                <a:ext uri="{FF2B5EF4-FFF2-40B4-BE49-F238E27FC236}">
                  <a16:creationId xmlns:a16="http://schemas.microsoft.com/office/drawing/2014/main" id="{5FFB853D-F550-4F16-8269-A070A19E381C}"/>
                </a:ext>
              </a:extLst>
            </p:cNvPr>
            <p:cNvSpPr>
              <a:spLocks noChangeAspect="1"/>
            </p:cNvSpPr>
            <p:nvPr>
              <p:custDataLst>
                <p:tags r:id="rId15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8" name="Harvey 8" hidden="1">
            <a:extLst>
              <a:ext uri="{FF2B5EF4-FFF2-40B4-BE49-F238E27FC236}">
                <a16:creationId xmlns:a16="http://schemas.microsoft.com/office/drawing/2014/main" id="{0630AB66-7B5F-41CE-A2EB-2EB4C67794AE}"/>
              </a:ext>
            </a:extLst>
          </p:cNvPr>
          <p:cNvGrpSpPr>
            <a:grpSpLocks/>
          </p:cNvGrpSpPr>
          <p:nvPr userDrawn="1">
            <p:custDataLst>
              <p:tags r:id="rId36"/>
            </p:custDataLst>
          </p:nvPr>
        </p:nvGrpSpPr>
        <p:grpSpPr>
          <a:xfrm>
            <a:off x="6844214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9" name="Harvey 0/8 [0]">
              <a:extLst>
                <a:ext uri="{FF2B5EF4-FFF2-40B4-BE49-F238E27FC236}">
                  <a16:creationId xmlns:a16="http://schemas.microsoft.com/office/drawing/2014/main" id="{051D5678-1EFE-40CF-8563-B5E9EA35A271}"/>
                </a:ext>
              </a:extLst>
            </p:cNvPr>
            <p:cNvSpPr>
              <a:spLocks noChangeAspect="1"/>
            </p:cNvSpPr>
            <p:nvPr>
              <p:custDataLst>
                <p:tags r:id="rId1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" name="Harvey 1/8 [1]">
              <a:extLst>
                <a:ext uri="{FF2B5EF4-FFF2-40B4-BE49-F238E27FC236}">
                  <a16:creationId xmlns:a16="http://schemas.microsoft.com/office/drawing/2014/main" id="{E5DDEB4B-B8B3-42DA-AF30-4FD0A1770D91}"/>
                </a:ext>
              </a:extLst>
            </p:cNvPr>
            <p:cNvSpPr>
              <a:spLocks noChangeAspect="1"/>
            </p:cNvSpPr>
            <p:nvPr>
              <p:custDataLst>
                <p:tags r:id="rId1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1" name="Harvey 2/8 [2]">
              <a:extLst>
                <a:ext uri="{FF2B5EF4-FFF2-40B4-BE49-F238E27FC236}">
                  <a16:creationId xmlns:a16="http://schemas.microsoft.com/office/drawing/2014/main" id="{FB9200C4-0418-4CEF-BBB8-18F997AD7CA8}"/>
                </a:ext>
              </a:extLst>
            </p:cNvPr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2" name="Harvey 3/8 [3]">
              <a:extLst>
                <a:ext uri="{FF2B5EF4-FFF2-40B4-BE49-F238E27FC236}">
                  <a16:creationId xmlns:a16="http://schemas.microsoft.com/office/drawing/2014/main" id="{8E4DE7E8-0809-4E2E-BE6A-E989A6AEBF62}"/>
                </a:ext>
              </a:extLst>
            </p:cNvPr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3" name="Harvey 4/8 [4]">
              <a:extLst>
                <a:ext uri="{FF2B5EF4-FFF2-40B4-BE49-F238E27FC236}">
                  <a16:creationId xmlns:a16="http://schemas.microsoft.com/office/drawing/2014/main" id="{F839E6A9-0DED-402B-8F4C-2176769B55CD}"/>
                </a:ext>
              </a:extLst>
            </p:cNvPr>
            <p:cNvSpPr>
              <a:spLocks noChangeAspect="1"/>
            </p:cNvSpPr>
            <p:nvPr>
              <p:custDataLst>
                <p:tags r:id="rId1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4" name="Harvey 5/8 [5]">
              <a:extLst>
                <a:ext uri="{FF2B5EF4-FFF2-40B4-BE49-F238E27FC236}">
                  <a16:creationId xmlns:a16="http://schemas.microsoft.com/office/drawing/2014/main" id="{C3EE8663-AD08-4237-8344-6543EC4B688C}"/>
                </a:ext>
              </a:extLst>
            </p:cNvPr>
            <p:cNvSpPr>
              <a:spLocks noChangeAspect="1"/>
            </p:cNvSpPr>
            <p:nvPr>
              <p:custDataLst>
                <p:tags r:id="rId1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5" name="Harvey 6/8 [6]">
              <a:extLst>
                <a:ext uri="{FF2B5EF4-FFF2-40B4-BE49-F238E27FC236}">
                  <a16:creationId xmlns:a16="http://schemas.microsoft.com/office/drawing/2014/main" id="{ADE6F931-D156-4E59-A3ED-0B14B5F0EF7E}"/>
                </a:ext>
              </a:extLst>
            </p:cNvPr>
            <p:cNvSpPr>
              <a:spLocks noChangeAspect="1"/>
            </p:cNvSpPr>
            <p:nvPr>
              <p:custDataLst>
                <p:tags r:id="rId14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6" name="Harvey 7/8 [7]">
              <a:extLst>
                <a:ext uri="{FF2B5EF4-FFF2-40B4-BE49-F238E27FC236}">
                  <a16:creationId xmlns:a16="http://schemas.microsoft.com/office/drawing/2014/main" id="{A36821AE-2FF1-4F6E-AAF3-1BEA6AE153B8}"/>
                </a:ext>
              </a:extLst>
            </p:cNvPr>
            <p:cNvSpPr>
              <a:spLocks noChangeAspect="1"/>
            </p:cNvSpPr>
            <p:nvPr>
              <p:custDataLst>
                <p:tags r:id="rId14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7" name="Harvey 8/8 [8]">
              <a:extLst>
                <a:ext uri="{FF2B5EF4-FFF2-40B4-BE49-F238E27FC236}">
                  <a16:creationId xmlns:a16="http://schemas.microsoft.com/office/drawing/2014/main" id="{2D277E47-45D5-4503-8443-BED560C6560A}"/>
                </a:ext>
              </a:extLst>
            </p:cNvPr>
            <p:cNvSpPr>
              <a:spLocks noChangeAspect="1"/>
            </p:cNvSpPr>
            <p:nvPr>
              <p:custDataLst>
                <p:tags r:id="rId14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28" name="Harvey 100" hidden="1">
            <a:extLst>
              <a:ext uri="{FF2B5EF4-FFF2-40B4-BE49-F238E27FC236}">
                <a16:creationId xmlns:a16="http://schemas.microsoft.com/office/drawing/2014/main" id="{6D5D9337-395C-4FE4-97E6-E1CD47A644E9}"/>
              </a:ext>
            </a:extLst>
          </p:cNvPr>
          <p:cNvGrpSpPr/>
          <p:nvPr userDrawn="1">
            <p:custDataLst>
              <p:tags r:id="rId37"/>
            </p:custDataLst>
          </p:nvPr>
        </p:nvGrpSpPr>
        <p:grpSpPr>
          <a:xfrm>
            <a:off x="8296922" y="3978000"/>
            <a:ext cx="1024878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29" name="Harvey 0/100 [0]">
              <a:extLst>
                <a:ext uri="{FF2B5EF4-FFF2-40B4-BE49-F238E27FC236}">
                  <a16:creationId xmlns:a16="http://schemas.microsoft.com/office/drawing/2014/main" id="{C2D4C837-2D4B-4D6B-81F8-9B001989609B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0" name="Harvey 1/100 [1]">
              <a:extLst>
                <a:ext uri="{FF2B5EF4-FFF2-40B4-BE49-F238E27FC236}">
                  <a16:creationId xmlns:a16="http://schemas.microsoft.com/office/drawing/2014/main" id="{BACD6AAA-4A1C-46BE-B491-9A4A9C7C56F3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1" name="Harvey 2/100 [2]">
              <a:extLst>
                <a:ext uri="{FF2B5EF4-FFF2-40B4-BE49-F238E27FC236}">
                  <a16:creationId xmlns:a16="http://schemas.microsoft.com/office/drawing/2014/main" id="{701024C3-4DEF-477C-9CFB-100E0303499E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2" name="Harvey 3/100 [3]">
              <a:extLst>
                <a:ext uri="{FF2B5EF4-FFF2-40B4-BE49-F238E27FC236}">
                  <a16:creationId xmlns:a16="http://schemas.microsoft.com/office/drawing/2014/main" id="{46A461CD-8D28-4422-AF2A-8267EFA51CAD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3" name="Harvey 4/100 [4]">
              <a:extLst>
                <a:ext uri="{FF2B5EF4-FFF2-40B4-BE49-F238E27FC236}">
                  <a16:creationId xmlns:a16="http://schemas.microsoft.com/office/drawing/2014/main" id="{0A337C3A-F021-437D-9E3D-FDE5AF266029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BDF66AF7-3D75-4118-B7E6-241B2C41B2C9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E74E7438-4315-4097-9BA7-F0CE3252AC14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FEBA4E91-97BB-4DAC-B193-66FA4828DB26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EEB85E02-177B-40CF-B926-A4423CC7C827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C133BC7F-B0E3-404F-92D1-BB930C4F3311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F2FB72A6-CDF7-48B3-A3B8-5A5FC061802C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F3110C8B-1B18-4579-AB3F-0F4A0840CF38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84A1B722-E5AC-45F7-9498-7FF502B6FA2B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A5599F20-B957-4DF9-8B04-F2B77AAF0BDB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F74357FC-EB3D-46C4-B56A-5007C9F4FB84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32E8E8F3-9DBC-46F4-9700-CAF071913650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71360883-3CF3-4439-9568-E456C60454A8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AE88FC9E-FB95-4413-AE3E-B8BF504735B5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62593B83-E4BE-4CE8-9B0B-25AF9B7D4254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CD41838E-0172-403D-9B68-FD51310F5400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EDE3F4CF-CB3E-40C2-B070-AC09F1E8FBD5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CD8E25E7-83D2-4F78-92A7-435281704491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C6A696FB-9EFC-47F6-9860-247C48C1FC3D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252958D2-EE89-4FBF-BF7B-C8AFAD704413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314E82DC-04B6-406C-9D65-1115F4D2AA22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669D1B60-A74F-4296-8610-F3DCDDC15022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FF6DD112-04B6-4656-AB9D-1F9950FEE2D9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E2928B53-FC5C-427C-AE65-9286773D84B2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D8CF4F20-8FEC-47FF-9B86-E818143B2C19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E1AF074D-4599-4D0E-8078-66303FEBDE44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2DF9C982-C062-4899-8A5F-20F49AD9E1B5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E98CD797-9DD9-4143-9058-D1ABF95E7406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39029FE4-844F-47DA-8FEF-FB68673FF10C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B99AA4D4-9C74-447B-89EF-8FD268FF95EE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0880CCDE-4DDE-49A8-AFB2-FDDCE314B4D3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F37E834A-F9D8-4623-BC85-60359856CCD0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15163940-B229-4368-B727-3714123C78AB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64BAECDC-27C7-4333-B9D8-59DE42A1B1AA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4F018A0A-A74A-4E47-BC47-203679D4F8C0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ACA75957-9FDB-46A2-82EC-77103CBEAC52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025DFA7F-A073-422A-8D20-E27D1ABE4342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BF311CE9-A4CB-4965-8F0F-5B6811E9FB20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1B415A3D-1E85-4E6A-8BAB-3BB56600BA4F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7EAD6077-4487-4E7D-846D-445E65B5291C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4B57ADAF-4A83-4CB4-8920-E2B9F994E83E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FF3E5416-AC43-4CBB-A32A-A966ED03106F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49AFF9C1-C19A-487C-A4C1-47DA87277C3B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F35AEE09-D82F-438F-9D01-96C6876241F1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4FC3325B-EEB2-4420-9715-1149CEACE9AC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3BE00D50-8FCE-4E11-AA24-10B621732F20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97083993-8BFD-443F-A3A3-D28EF389CE2B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BDE38762-18E9-47FF-895E-325F5976ECAA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785EAA21-FBCD-46DC-8430-7AB12F5A66AF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858D54BA-F4A5-4C67-830E-E85FF6EE735D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AC41BD7B-E1FA-4AED-B11C-E03936A672E6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BAF901A0-5FD1-4B29-9AF9-DB8B19412429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3EFF555D-6B7F-481F-ADC2-746953BA7F97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A4D3BE31-8C07-4912-AB8B-8331A665C238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E7B5A5D9-6DD2-4B0A-9557-7A7AF774103E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88458C0E-D234-4C86-A6CC-B8CD6C445F00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0924D2C6-D224-49FD-A4B8-312AFD605E78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F9FB23C2-D568-49AC-B8FD-0480EB019739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9EF3159D-F4FB-4032-BCCB-55E6ED5EEFC7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9362C8EA-6D15-4E0C-8AE9-B1B50EB297B8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91EB375D-1444-4BE3-A696-66272A1564CD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9A3002B1-5D17-4BCB-9A44-B2FB4025D02F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E5F2FDE4-04B2-4A45-A685-14E0C51883A5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D399A169-3845-4CD5-A62C-F4586F1FAFE8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E12F5173-9960-47F5-9A91-B043294E14CB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DD9B9229-3D3A-4706-BEEC-04C19A30C5C3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795A4CC8-0C08-491C-8D7F-95EC8E0E25B8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91862A76-5FCC-4C25-9A3F-A10651AC7725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46969644-17D9-45C9-A88A-9A88622DCE45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F89621F9-3ABB-450D-913E-7B467F289A9B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89EE4B1F-E703-471D-8307-BFB9EDEDB9F7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8AB2EEA8-04AC-4B6C-8D90-28093DB647E6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6F4E00F2-EA6F-4809-B2FD-4CE3ABE8C480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CF5CA593-7B87-4492-9B35-2255514CB496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8C036464-458E-48D4-BAC8-84819F820C60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6FD5AC00-8293-447C-B728-B963DD67B1C2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29C0F859-BC49-430F-8C59-C0B9109E47A3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F78719E3-0417-4867-B70D-21538B3AC36E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9C5D0905-7412-4C75-BC20-E51105CA783D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96AA2E20-CC65-4632-B3D4-93E962B59D4C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9B4360A3-E0B2-48F7-B5A8-D24513748A82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D694B21E-EEA0-48FA-A35C-7B6570B3F861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85E1AF41-C21D-4514-B37E-CC830BC09C0A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E3948F2E-FD5F-4107-B122-9AC75FE0CD9E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744E57ED-019F-4A8B-A06E-9FB965FEBB23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5567719B-31CA-4A86-801E-E0531122E504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2CD4B3A1-B882-43A6-A4CA-C9FCA394B28B}"/>
                </a:ext>
              </a:extLst>
            </p:cNvPr>
            <p:cNvSpPr>
              <a:spLocks noChangeAspect="1"/>
            </p:cNvSpPr>
            <p:nvPr>
              <p:custDataLst>
                <p:tags r:id="rId1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68606D93-5175-4900-AD89-6D0710AFE75F}"/>
                </a:ext>
              </a:extLst>
            </p:cNvPr>
            <p:cNvSpPr>
              <a:spLocks noChangeAspect="1"/>
            </p:cNvSpPr>
            <p:nvPr>
              <p:custDataLst>
                <p:tags r:id="rId1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7EE30864-DDCC-4BBA-B70A-48810E224581}"/>
                </a:ext>
              </a:extLst>
            </p:cNvPr>
            <p:cNvSpPr>
              <a:spLocks noChangeAspect="1"/>
            </p:cNvSpPr>
            <p:nvPr>
              <p:custDataLst>
                <p:tags r:id="rId1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608CA488-A707-4C7A-9287-9DA9A38ED3D4}"/>
                </a:ext>
              </a:extLst>
            </p:cNvPr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FE1836A9-F92A-4F07-BBB8-2274E290E952}"/>
                </a:ext>
              </a:extLst>
            </p:cNvPr>
            <p:cNvSpPr>
              <a:spLocks noChangeAspect="1"/>
            </p:cNvSpPr>
            <p:nvPr>
              <p:custDataLst>
                <p:tags r:id="rId1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3169BE73-7F99-46E3-BDA9-D9BB85BE343E}"/>
                </a:ext>
              </a:extLst>
            </p:cNvPr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12E3B5ED-B1AB-4A99-BD20-FF638135BE37}"/>
                </a:ext>
              </a:extLst>
            </p:cNvPr>
            <p:cNvSpPr>
              <a:spLocks noChangeAspect="1"/>
            </p:cNvSpPr>
            <p:nvPr>
              <p:custDataLst>
                <p:tags r:id="rId1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75A7FEAD-6C4B-4F7A-BB60-3A68D96114DE}"/>
                </a:ext>
              </a:extLst>
            </p:cNvPr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C4B5128E-9380-4C38-A1EB-CB12E7401609}"/>
                </a:ext>
              </a:extLst>
            </p:cNvPr>
            <p:cNvSpPr>
              <a:spLocks noChangeAspect="1"/>
            </p:cNvSpPr>
            <p:nvPr>
              <p:custDataLst>
                <p:tags r:id="rId1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50F634E4-E5B9-4DA6-9F91-8AF5B6ACF1FB}"/>
                </a:ext>
              </a:extLst>
            </p:cNvPr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94AA53CD-8233-470E-AFEE-0BCC721BFAE9}"/>
                </a:ext>
              </a:extLst>
            </p:cNvPr>
            <p:cNvSpPr>
              <a:spLocks noChangeAspect="1"/>
            </p:cNvSpPr>
            <p:nvPr>
              <p:custDataLst>
                <p:tags r:id="rId1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1B41FB17-6D57-4EE1-9C4C-9C305D5D6BEC}"/>
              </a:ext>
            </a:extLst>
          </p:cNvPr>
          <p:cNvSpPr txBox="1"/>
          <p:nvPr userDrawn="1"/>
        </p:nvSpPr>
        <p:spPr>
          <a:xfrm>
            <a:off x="503238" y="5984668"/>
            <a:ext cx="1018820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b="0" i="0" kern="0"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7C793D27-9296-461C-878D-BA16CBD91587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704CE42F-5A9B-4CC0-8048-99928A53C0C4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348603E9-9858-4213-9B5B-929AD136906A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7EEB833A-9AFC-4A66-8469-9D3897CE1E66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D41FF937-AB04-46EE-82EF-FCE26A919A7B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06C5579C-7A02-48D6-A733-4B9E6D9F1443}"/>
              </a:ext>
            </a:extLst>
          </p:cNvPr>
          <p:cNvSpPr>
            <a:spLocks/>
          </p:cNvSpPr>
          <p:nvPr userDrawn="1"/>
        </p:nvSpPr>
        <p:spPr>
          <a:xfrm>
            <a:off x="10071105" y="896920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89EB4C18-DFF3-4A27-ACBB-99DCDC8961A8}"/>
              </a:ext>
            </a:extLst>
          </p:cNvPr>
          <p:cNvSpPr>
            <a:spLocks/>
          </p:cNvSpPr>
          <p:nvPr userDrawn="1"/>
        </p:nvSpPr>
        <p:spPr>
          <a:xfrm>
            <a:off x="9483344" y="1097679"/>
            <a:ext cx="2479101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906252E7-98DB-45F0-8278-EB60F71B7340}"/>
              </a:ext>
            </a:extLst>
          </p:cNvPr>
          <p:cNvSpPr>
            <a:spLocks/>
          </p:cNvSpPr>
          <p:nvPr userDrawn="1"/>
        </p:nvSpPr>
        <p:spPr>
          <a:xfrm>
            <a:off x="9483344" y="1097671"/>
            <a:ext cx="2479101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904633E3-6BC9-4C5E-B74A-8B9D4AE95B20}"/>
              </a:ext>
            </a:extLst>
          </p:cNvPr>
          <p:cNvSpPr/>
          <p:nvPr userDrawn="1"/>
        </p:nvSpPr>
        <p:spPr bwMode="gray">
          <a:xfrm rot="18900000">
            <a:off x="2916643" y="2819462"/>
            <a:ext cx="6361889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A720E741-89F4-5512-1D96-1B5460C1166D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3408294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80" r:id="rId2"/>
    <p:sldLayoutId id="2147483787" r:id="rId3"/>
    <p:sldLayoutId id="2147483777" r:id="rId4"/>
    <p:sldLayoutId id="2147483788" r:id="rId5"/>
    <p:sldLayoutId id="2147483789" r:id="rId6"/>
    <p:sldLayoutId id="2147483790" r:id="rId7"/>
    <p:sldLayoutId id="2147483791" r:id="rId8"/>
    <p:sldLayoutId id="2147483793" r:id="rId9"/>
    <p:sldLayoutId id="2147483794" r:id="rId10"/>
    <p:sldLayoutId id="2147483741" r:id="rId11"/>
    <p:sldLayoutId id="2147483765" r:id="rId12"/>
    <p:sldLayoutId id="2147483767" r:id="rId13"/>
    <p:sldLayoutId id="2147483786" r:id="rId14"/>
    <p:sldLayoutId id="2147483743" r:id="rId15"/>
    <p:sldLayoutId id="2147483774" r:id="rId16"/>
    <p:sldLayoutId id="2147483745" r:id="rId17"/>
    <p:sldLayoutId id="2147483760" r:id="rId18"/>
    <p:sldLayoutId id="2147483768" r:id="rId19"/>
    <p:sldLayoutId id="2147483769" r:id="rId20"/>
    <p:sldLayoutId id="2147483770" r:id="rId21"/>
    <p:sldLayoutId id="2147483744" r:id="rId22"/>
    <p:sldLayoutId id="2147483757" r:id="rId23"/>
    <p:sldLayoutId id="2147483771" r:id="rId24"/>
    <p:sldLayoutId id="2147483763" r:id="rId25"/>
    <p:sldLayoutId id="2147483751" r:id="rId26"/>
    <p:sldLayoutId id="2147483756" r:id="rId27"/>
    <p:sldLayoutId id="2147483740" r:id="rId28"/>
    <p:sldLayoutId id="2147483874" r:id="rId29"/>
    <p:sldLayoutId id="2147483876" r:id="rId30"/>
    <p:sldLayoutId id="2147483877" r:id="rId31"/>
  </p:sldLayoutIdLst>
  <p:hf hdr="0" ftr="0" dt="0"/>
  <p:txStyles>
    <p:titleStyle>
      <a:lvl1pPr algn="l" defTabSz="1088558" rtl="0" eaLnBrk="1" latinLnBrk="0" hangingPunct="1">
        <a:spcBef>
          <a:spcPct val="0"/>
        </a:spcBef>
        <a:buNone/>
        <a:defRPr sz="2400" b="0" i="0" kern="1200" baseline="0">
          <a:solidFill>
            <a:schemeClr val="tx1"/>
          </a:solidFill>
          <a:latin typeface="72 Brand Medium" panose="020B0504030603020204" pitchFamily="34" charset="0"/>
          <a:ea typeface="+mj-ea"/>
          <a:cs typeface="+mj-cs"/>
        </a:defRPr>
      </a:lvl1pPr>
    </p:titleStyle>
    <p:bodyStyle>
      <a:lvl1pPr marL="0" indent="0" algn="l" defTabSz="1088558" rtl="0" eaLnBrk="1" latinLnBrk="0" hangingPunct="1">
        <a:spcBef>
          <a:spcPts val="1800"/>
        </a:spcBef>
        <a:buClrTx/>
        <a:buSzPct val="80000"/>
        <a:buFont typeface="Roboto" panose="02000000000000000000" pitchFamily="2" charset="0"/>
        <a:buChar char="​"/>
        <a:defRPr sz="20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1pPr>
      <a:lvl2pPr marL="179964" indent="-179964" algn="l" defTabSz="1088558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2pPr>
      <a:lvl3pPr marL="358775" indent="-179388" algn="l" defTabSz="1088558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800" b="0" i="0" kern="1200" noProof="0" dirty="0" smtClean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3pPr>
      <a:lvl4pPr marL="539892" indent="-179964" algn="l" defTabSz="1088558" rtl="0" eaLnBrk="1" latinLnBrk="0" hangingPunct="1">
        <a:spcBef>
          <a:spcPts val="300"/>
        </a:spcBef>
        <a:buClr>
          <a:schemeClr val="tx1"/>
        </a:buClr>
        <a:buSzPct val="80000"/>
        <a:buFont typeface="Courier New" panose="02070309020205020404" pitchFamily="49" charset="0"/>
        <a:buChar char="o"/>
        <a:defRPr sz="16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4pPr>
      <a:lvl5pPr marL="719856" indent="-179964" algn="l" defTabSz="1088558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b="0" i="0" kern="1200" baseline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5pPr>
      <a:lvl6pPr marL="2993535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814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209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637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279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558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837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11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39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5675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09954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4233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7DADA95-CE93-7FBA-4AA8-2B6704A43A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942644519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04" imgH="405" progId="TCLayout.ActiveDocument.1">
                  <p:embed/>
                </p:oleObj>
              </mc:Choice>
              <mc:Fallback>
                <p:oleObj name="think-cell Slide" r:id="rId22" imgW="404" imgH="40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7DADA95-CE93-7FBA-4AA8-2B6704A43A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F8DD38F-4A35-4671-BE35-E2D589FC8333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89116" y="469640"/>
            <a:ext cx="11020119" cy="55403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27" name="Text Placeholder 3">
            <a:extLst>
              <a:ext uri="{FF2B5EF4-FFF2-40B4-BE49-F238E27FC236}">
                <a16:creationId xmlns:a16="http://schemas.microsoft.com/office/drawing/2014/main" id="{C506EEC7-28C3-447D-A092-08572597C259}"/>
              </a:ext>
            </a:extLst>
          </p:cNvPr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584352" y="1435100"/>
            <a:ext cx="11021707" cy="161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grpSp>
        <p:nvGrpSpPr>
          <p:cNvPr id="1028" name="GRID" hidden="1">
            <a:extLst>
              <a:ext uri="{FF2B5EF4-FFF2-40B4-BE49-F238E27FC236}">
                <a16:creationId xmlns:a16="http://schemas.microsoft.com/office/drawing/2014/main" id="{A2A9D185-79AB-4AD0-89DA-D60F0C62253C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12195175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B3E11977-8CF9-485D-ACE5-33EEB0D46437}"/>
                </a:ext>
              </a:extLst>
            </p:cNvPr>
            <p:cNvCxnSpPr/>
            <p:nvPr/>
          </p:nvCxnSpPr>
          <p:spPr>
            <a:xfrm>
              <a:off x="0" y="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EFBB5E38-506A-44DD-A315-56E157E16AF0}"/>
                </a:ext>
              </a:extLst>
            </p:cNvPr>
            <p:cNvCxnSpPr/>
            <p:nvPr/>
          </p:nvCxnSpPr>
          <p:spPr>
            <a:xfrm>
              <a:off x="0" y="2921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4E40CB70-5AC0-476B-AA40-C2241BEB8DFF}"/>
                </a:ext>
              </a:extLst>
            </p:cNvPr>
            <p:cNvCxnSpPr/>
            <p:nvPr/>
          </p:nvCxnSpPr>
          <p:spPr>
            <a:xfrm>
              <a:off x="0" y="585788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ACEF339-045A-4996-8036-3371D72B7792}"/>
                </a:ext>
              </a:extLst>
            </p:cNvPr>
            <p:cNvCxnSpPr/>
            <p:nvPr/>
          </p:nvCxnSpPr>
          <p:spPr>
            <a:xfrm>
              <a:off x="0" y="6272213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ABCC50FD-86C8-42F8-9D68-7DADB5458B31}"/>
                </a:ext>
              </a:extLst>
            </p:cNvPr>
            <p:cNvCxnSpPr/>
            <p:nvPr/>
          </p:nvCxnSpPr>
          <p:spPr>
            <a:xfrm>
              <a:off x="0" y="65659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6D4A581-DE57-4A63-996B-BE800760E15C}"/>
                </a:ext>
              </a:extLst>
            </p:cNvPr>
            <p:cNvCxnSpPr/>
            <p:nvPr/>
          </p:nvCxnSpPr>
          <p:spPr>
            <a:xfrm>
              <a:off x="0" y="68580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DABA573-5574-4F8A-A22B-83348FDE631E}"/>
                </a:ext>
              </a:extLst>
            </p:cNvPr>
            <p:cNvCxnSpPr/>
            <p:nvPr/>
          </p:nvCxnSpPr>
          <p:spPr>
            <a:xfrm>
              <a:off x="0" y="8778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F00EC732-F52C-4DCC-969C-5C03983A6864}"/>
                </a:ext>
              </a:extLst>
            </p:cNvPr>
            <p:cNvCxnSpPr/>
            <p:nvPr/>
          </p:nvCxnSpPr>
          <p:spPr>
            <a:xfrm>
              <a:off x="0" y="11699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1970F0B-BC66-48A4-AFE3-81E6AD0DF714}"/>
                </a:ext>
              </a:extLst>
            </p:cNvPr>
            <p:cNvCxnSpPr/>
            <p:nvPr/>
          </p:nvCxnSpPr>
          <p:spPr>
            <a:xfrm>
              <a:off x="0" y="14636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1B18F09C-04FE-456E-B005-DCF9AD18BDE2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29FE731-4088-4B63-9BDA-0CECFD8FE6BF}"/>
                </a:ext>
              </a:extLst>
            </p:cNvPr>
            <p:cNvCxnSpPr/>
            <p:nvPr/>
          </p:nvCxnSpPr>
          <p:spPr>
            <a:xfrm>
              <a:off x="585788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35232B1C-BA17-47D7-8EC4-A6FA94639357}"/>
                </a:ext>
              </a:extLst>
            </p:cNvPr>
            <p:cNvCxnSpPr/>
            <p:nvPr/>
          </p:nvCxnSpPr>
          <p:spPr>
            <a:xfrm>
              <a:off x="2921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9C0B7A88-07B8-4006-83A4-9775E56330FC}"/>
                </a:ext>
              </a:extLst>
            </p:cNvPr>
            <p:cNvCxnSpPr/>
            <p:nvPr/>
          </p:nvCxnSpPr>
          <p:spPr>
            <a:xfrm>
              <a:off x="8778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C95DC405-8389-4A07-9075-49586FC5C38A}"/>
                </a:ext>
              </a:extLst>
            </p:cNvPr>
            <p:cNvCxnSpPr/>
            <p:nvPr/>
          </p:nvCxnSpPr>
          <p:spPr>
            <a:xfrm>
              <a:off x="11699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C98523BC-FB5E-4A17-8196-29101995A258}"/>
                </a:ext>
              </a:extLst>
            </p:cNvPr>
            <p:cNvCxnSpPr/>
            <p:nvPr/>
          </p:nvCxnSpPr>
          <p:spPr>
            <a:xfrm>
              <a:off x="110220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ACD9206-271F-48E7-BF40-5D3BA0E55523}"/>
                </a:ext>
              </a:extLst>
            </p:cNvPr>
            <p:cNvCxnSpPr/>
            <p:nvPr/>
          </p:nvCxnSpPr>
          <p:spPr>
            <a:xfrm>
              <a:off x="11606213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A29F7B5-876C-4712-8DC6-7CADEB1A6132}"/>
                </a:ext>
              </a:extLst>
            </p:cNvPr>
            <p:cNvCxnSpPr/>
            <p:nvPr/>
          </p:nvCxnSpPr>
          <p:spPr>
            <a:xfrm>
              <a:off x="113141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14EA0CCB-1F5D-4570-AA71-CDC176FF7307}"/>
                </a:ext>
              </a:extLst>
            </p:cNvPr>
            <p:cNvCxnSpPr/>
            <p:nvPr/>
          </p:nvCxnSpPr>
          <p:spPr>
            <a:xfrm>
              <a:off x="118999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D24AB1E-218C-429C-B96B-6F40E2E367C5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4BACA4F-5C8E-4A1D-A2F2-2B9C468C19AB}"/>
                </a:ext>
              </a:extLst>
            </p:cNvPr>
            <p:cNvCxnSpPr/>
            <p:nvPr/>
          </p:nvCxnSpPr>
          <p:spPr>
            <a:xfrm>
              <a:off x="0" y="17557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8D1FD41-F515-4223-9316-CF49B10CA595}"/>
                </a:ext>
              </a:extLst>
            </p:cNvPr>
            <p:cNvCxnSpPr/>
            <p:nvPr/>
          </p:nvCxnSpPr>
          <p:spPr>
            <a:xfrm>
              <a:off x="0" y="20478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7CF3AD4F-5C51-48A8-90BA-A2B91CD10C8B}"/>
                </a:ext>
              </a:extLst>
            </p:cNvPr>
            <p:cNvCxnSpPr/>
            <p:nvPr/>
          </p:nvCxnSpPr>
          <p:spPr>
            <a:xfrm>
              <a:off x="0" y="23415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D0521A3-05EF-4F79-8505-9E2B2C339477}"/>
                </a:ext>
              </a:extLst>
            </p:cNvPr>
            <p:cNvCxnSpPr/>
            <p:nvPr/>
          </p:nvCxnSpPr>
          <p:spPr>
            <a:xfrm>
              <a:off x="0" y="26336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48810284-E24B-4D8D-BF44-856187577D2E}"/>
                </a:ext>
              </a:extLst>
            </p:cNvPr>
            <p:cNvCxnSpPr/>
            <p:nvPr/>
          </p:nvCxnSpPr>
          <p:spPr>
            <a:xfrm>
              <a:off x="0" y="29257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59626754-7ED6-4733-A6F7-0E45D9C47A48}"/>
                </a:ext>
              </a:extLst>
            </p:cNvPr>
            <p:cNvCxnSpPr/>
            <p:nvPr/>
          </p:nvCxnSpPr>
          <p:spPr>
            <a:xfrm>
              <a:off x="0" y="32194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2F52ADDF-24EC-47E3-83F8-3918E93DE11D}"/>
                </a:ext>
              </a:extLst>
            </p:cNvPr>
            <p:cNvCxnSpPr/>
            <p:nvPr/>
          </p:nvCxnSpPr>
          <p:spPr>
            <a:xfrm>
              <a:off x="0" y="35115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80AE4D0A-1497-4DA2-88D3-3815D6D31063}"/>
                </a:ext>
              </a:extLst>
            </p:cNvPr>
            <p:cNvCxnSpPr/>
            <p:nvPr/>
          </p:nvCxnSpPr>
          <p:spPr>
            <a:xfrm>
              <a:off x="0" y="38036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BDC60C3-9A65-4C10-AECB-C4427D8D5D31}"/>
                </a:ext>
              </a:extLst>
            </p:cNvPr>
            <p:cNvCxnSpPr/>
            <p:nvPr/>
          </p:nvCxnSpPr>
          <p:spPr>
            <a:xfrm>
              <a:off x="0" y="40957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C9FB55BF-AEB3-4AB1-B936-CBBF4162DAD5}"/>
                </a:ext>
              </a:extLst>
            </p:cNvPr>
            <p:cNvCxnSpPr/>
            <p:nvPr/>
          </p:nvCxnSpPr>
          <p:spPr>
            <a:xfrm>
              <a:off x="0" y="43894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D1890F9C-92E3-48D3-B57D-EF175EC62B01}"/>
                </a:ext>
              </a:extLst>
            </p:cNvPr>
            <p:cNvCxnSpPr/>
            <p:nvPr/>
          </p:nvCxnSpPr>
          <p:spPr>
            <a:xfrm>
              <a:off x="0" y="46815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F66EE5B9-25FA-4221-91A5-6C39DC942699}"/>
                </a:ext>
              </a:extLst>
            </p:cNvPr>
            <p:cNvCxnSpPr/>
            <p:nvPr/>
          </p:nvCxnSpPr>
          <p:spPr>
            <a:xfrm>
              <a:off x="0" y="49736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FFA7A0E3-84C0-4C49-BE98-62AF2F82E299}"/>
                </a:ext>
              </a:extLst>
            </p:cNvPr>
            <p:cNvCxnSpPr/>
            <p:nvPr/>
          </p:nvCxnSpPr>
          <p:spPr>
            <a:xfrm>
              <a:off x="0" y="52673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F93ACC3E-E2E4-4C54-8203-100979D0BA58}"/>
                </a:ext>
              </a:extLst>
            </p:cNvPr>
            <p:cNvCxnSpPr/>
            <p:nvPr/>
          </p:nvCxnSpPr>
          <p:spPr>
            <a:xfrm>
              <a:off x="0" y="55594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031AC7C3-0670-4E5F-863D-1A6F8AA689A9}"/>
                </a:ext>
              </a:extLst>
            </p:cNvPr>
            <p:cNvCxnSpPr/>
            <p:nvPr/>
          </p:nvCxnSpPr>
          <p:spPr>
            <a:xfrm>
              <a:off x="0" y="58515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A8AF3FCD-9C81-4FDC-B538-783D0C0F93B7}"/>
              </a:ext>
            </a:extLst>
          </p:cNvPr>
          <p:cNvSpPr/>
          <p:nvPr/>
        </p:nvSpPr>
        <p:spPr bwMode="auto">
          <a:xfrm>
            <a:off x="0" y="0"/>
            <a:ext cx="585941" cy="58578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33EF2950-F2B6-4DD3-A9C0-1CF8A171AA34}"/>
              </a:ext>
            </a:extLst>
          </p:cNvPr>
          <p:cNvSpPr/>
          <p:nvPr/>
        </p:nvSpPr>
        <p:spPr bwMode="auto">
          <a:xfrm>
            <a:off x="0" y="0"/>
            <a:ext cx="292176" cy="292100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50" name="Group 49" hidden="1">
            <a:extLst>
              <a:ext uri="{FF2B5EF4-FFF2-40B4-BE49-F238E27FC236}">
                <a16:creationId xmlns:a16="http://schemas.microsoft.com/office/drawing/2014/main" id="{CF3FA4BD-32C9-4A0E-A7B2-52453FFD146E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D14555E9-BE86-4E51-8046-561BE50ED1B7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D6509AF5-A4AA-4A63-BA43-F8D4BB72E871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94C82971-7C3E-4EED-BC20-8DA04C1F60C4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5B5FC1B7-D4CB-44E9-886A-8EF400A1EE15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699D719B-AC81-423C-8565-C830988B8B26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480FD7A5-EF72-40C7-A255-50A927D2F85F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9" name="Rectangle 78">
                <a:extLst>
                  <a:ext uri="{FF2B5EF4-FFF2-40B4-BE49-F238E27FC236}">
                    <a16:creationId xmlns:a16="http://schemas.microsoft.com/office/drawing/2014/main" id="{FA2651D8-3304-4065-A858-0B0D06396DC3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80" name="Rectangle 79">
                <a:extLst>
                  <a:ext uri="{FF2B5EF4-FFF2-40B4-BE49-F238E27FC236}">
                    <a16:creationId xmlns:a16="http://schemas.microsoft.com/office/drawing/2014/main" id="{BD60FE52-DD0E-4CE7-9889-F4D8670ABD64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52C126FB-9763-4157-AD1D-93D1AA2DDB7B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DAE68EE8-9769-4655-829C-9A70533EA38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A49B6813-D843-41DC-9D68-DA1A3B91C899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9DDA07BA-B624-4B9F-9C70-A1A9B81A7CD6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9FE03F51-5C12-4652-B1D3-0201DFC8F73E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40B943D4-0132-4ED7-8163-E68844D68CDD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C872454E-FC8C-4836-A901-2AC1314B5E5B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A8254FAC-35FC-4C6F-ABC0-12EE47C9273D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FAAC91DE-80CB-478B-A575-0D1968119AD1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4AE77872-2DF3-48E6-8D8B-D76DE8EF15CE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BFDF6C7D-44EA-4239-BF0B-8228D2C2F606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927D3FED-B46A-4A2C-A44B-D4D19A008B66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5D595194-0969-4924-9757-94D9B7D058A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D781E367-B51E-47B9-9A6A-53D950A154AB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5719CCF5-DF53-443B-96D3-6820C32CECC1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3B3ABF3C-98CA-4476-B23A-D2E617DB69F0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67ED3975-B756-4240-A0E0-3E87567CF30A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157520BE-A8AA-4C12-A21D-929D071F7D8A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8DE1E397-8822-47C6-9A8C-63CAB6A5A23F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72440505-9DC4-42FE-BA6D-2C99A98AF218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359BF2ED-545A-4D23-8594-8C8164901A54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FA3BE06D-7094-4181-B35C-4AE013C80F1F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4" name="Copyright">
            <a:extLst>
              <a:ext uri="{FF2B5EF4-FFF2-40B4-BE49-F238E27FC236}">
                <a16:creationId xmlns:a16="http://schemas.microsoft.com/office/drawing/2014/main" id="{F6B0086D-98A4-275F-E169-67E9FF28606F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807B76C-00E5-A418-5FD4-B3AD62DE9D58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7927092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  <p:sldLayoutId id="2147483807" r:id="rId9"/>
    <p:sldLayoutId id="2147483808" r:id="rId10"/>
    <p:sldLayoutId id="2147483809" r:id="rId11"/>
    <p:sldLayoutId id="2147483810" r:id="rId12"/>
    <p:sldLayoutId id="2147483811" r:id="rId13"/>
    <p:sldLayoutId id="2147483812" r:id="rId14"/>
    <p:sldLayoutId id="2147483813" r:id="rId15"/>
    <p:sldLayoutId id="2147483814" r:id="rId16"/>
    <p:sldLayoutId id="2147483815" r:id="rId17"/>
    <p:sldLayoutId id="2147483816" r:id="rId18"/>
    <p:sldLayoutId id="2147483817" r:id="rId19"/>
  </p:sldLayoutIdLst>
  <p:transition>
    <p:fade/>
  </p:transition>
  <p:hf sldNum="0" hdr="0" ftr="0" dt="0"/>
  <p:txStyles>
    <p:titleStyle>
      <a:lvl1pPr algn="l" defTabSz="931863" rtl="0" eaLnBrk="1" fontAlgn="base" hangingPunct="1">
        <a:spcBef>
          <a:spcPct val="0"/>
        </a:spcBef>
        <a:spcAft>
          <a:spcPct val="0"/>
        </a:spcAft>
        <a:defRPr lang="en-US" sz="3600" b="1" kern="1200" spc="-50" dirty="0">
          <a:ln w="3175">
            <a:noFill/>
          </a:ln>
          <a:solidFill>
            <a:schemeClr val="tx1"/>
          </a:solidFill>
          <a:latin typeface="72 Brand" panose="020B0504030603020204" pitchFamily="34" charset="0"/>
          <a:ea typeface="+mn-ea"/>
          <a:cs typeface="72 Bold" panose="020B0803030000000003" pitchFamily="34" charset="0"/>
        </a:defRPr>
      </a:lvl1pPr>
      <a:lvl2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286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8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1pPr>
      <a:lvl2pPr marL="4572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0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2pPr>
      <a:lvl3pPr marL="657225" indent="-20002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6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3pPr>
      <a:lvl4pPr marL="842963" indent="-1809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4pPr>
      <a:lvl5pPr marL="1023938" indent="-1682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50">
          <p15:clr>
            <a:srgbClr val="F26B43"/>
          </p15:clr>
        </p15:guide>
        <p15:guide id="2" pos="360">
          <p15:clr>
            <a:srgbClr val="F26B43"/>
          </p15:clr>
        </p15:guide>
        <p15:guide id="3" pos="7320">
          <p15:clr>
            <a:srgbClr val="F26B43"/>
          </p15:clr>
        </p15:guide>
        <p15:guide id="4" orient="horz" pos="368">
          <p15:clr>
            <a:srgbClr val="F26B43"/>
          </p15:clr>
        </p15:guide>
        <p15:guide id="5" pos="184">
          <p15:clr>
            <a:srgbClr val="F26B43"/>
          </p15:clr>
        </p15:guide>
        <p15:guide id="6" pos="7496">
          <p15:clr>
            <a:srgbClr val="F26B43"/>
          </p15:clr>
        </p15:guide>
        <p15:guide id="7" orient="horz" pos="175">
          <p15:clr>
            <a:srgbClr val="F26B43"/>
          </p15:clr>
        </p15:guide>
        <p15:guide id="8" orient="horz" pos="413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7DADA95-CE93-7FBA-4AA8-2B6704A43A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72081184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04" imgH="405" progId="TCLayout.ActiveDocument.1">
                  <p:embed/>
                </p:oleObj>
              </mc:Choice>
              <mc:Fallback>
                <p:oleObj name="think-cell Slide" r:id="rId22" imgW="404" imgH="40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7DADA95-CE93-7FBA-4AA8-2B6704A43A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F8DD38F-4A35-4671-BE35-E2D589FC8333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89116" y="469640"/>
            <a:ext cx="11020119" cy="55403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27" name="Text Placeholder 3">
            <a:extLst>
              <a:ext uri="{FF2B5EF4-FFF2-40B4-BE49-F238E27FC236}">
                <a16:creationId xmlns:a16="http://schemas.microsoft.com/office/drawing/2014/main" id="{C506EEC7-28C3-447D-A092-08572597C259}"/>
              </a:ext>
            </a:extLst>
          </p:cNvPr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584352" y="1435100"/>
            <a:ext cx="11021707" cy="161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grpSp>
        <p:nvGrpSpPr>
          <p:cNvPr id="1028" name="GRID" hidden="1">
            <a:extLst>
              <a:ext uri="{FF2B5EF4-FFF2-40B4-BE49-F238E27FC236}">
                <a16:creationId xmlns:a16="http://schemas.microsoft.com/office/drawing/2014/main" id="{A2A9D185-79AB-4AD0-89DA-D60F0C62253C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12195175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B3E11977-8CF9-485D-ACE5-33EEB0D46437}"/>
                </a:ext>
              </a:extLst>
            </p:cNvPr>
            <p:cNvCxnSpPr/>
            <p:nvPr/>
          </p:nvCxnSpPr>
          <p:spPr>
            <a:xfrm>
              <a:off x="0" y="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EFBB5E38-506A-44DD-A315-56E157E16AF0}"/>
                </a:ext>
              </a:extLst>
            </p:cNvPr>
            <p:cNvCxnSpPr/>
            <p:nvPr/>
          </p:nvCxnSpPr>
          <p:spPr>
            <a:xfrm>
              <a:off x="0" y="2921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4E40CB70-5AC0-476B-AA40-C2241BEB8DFF}"/>
                </a:ext>
              </a:extLst>
            </p:cNvPr>
            <p:cNvCxnSpPr/>
            <p:nvPr/>
          </p:nvCxnSpPr>
          <p:spPr>
            <a:xfrm>
              <a:off x="0" y="585788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ACEF339-045A-4996-8036-3371D72B7792}"/>
                </a:ext>
              </a:extLst>
            </p:cNvPr>
            <p:cNvCxnSpPr/>
            <p:nvPr/>
          </p:nvCxnSpPr>
          <p:spPr>
            <a:xfrm>
              <a:off x="0" y="6272213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ABCC50FD-86C8-42F8-9D68-7DADB5458B31}"/>
                </a:ext>
              </a:extLst>
            </p:cNvPr>
            <p:cNvCxnSpPr/>
            <p:nvPr/>
          </p:nvCxnSpPr>
          <p:spPr>
            <a:xfrm>
              <a:off x="0" y="65659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6D4A581-DE57-4A63-996B-BE800760E15C}"/>
                </a:ext>
              </a:extLst>
            </p:cNvPr>
            <p:cNvCxnSpPr/>
            <p:nvPr/>
          </p:nvCxnSpPr>
          <p:spPr>
            <a:xfrm>
              <a:off x="0" y="68580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DABA573-5574-4F8A-A22B-83348FDE631E}"/>
                </a:ext>
              </a:extLst>
            </p:cNvPr>
            <p:cNvCxnSpPr/>
            <p:nvPr/>
          </p:nvCxnSpPr>
          <p:spPr>
            <a:xfrm>
              <a:off x="0" y="8778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F00EC732-F52C-4DCC-969C-5C03983A6864}"/>
                </a:ext>
              </a:extLst>
            </p:cNvPr>
            <p:cNvCxnSpPr/>
            <p:nvPr/>
          </p:nvCxnSpPr>
          <p:spPr>
            <a:xfrm>
              <a:off x="0" y="11699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1970F0B-BC66-48A4-AFE3-81E6AD0DF714}"/>
                </a:ext>
              </a:extLst>
            </p:cNvPr>
            <p:cNvCxnSpPr/>
            <p:nvPr/>
          </p:nvCxnSpPr>
          <p:spPr>
            <a:xfrm>
              <a:off x="0" y="14636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1B18F09C-04FE-456E-B005-DCF9AD18BDE2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29FE731-4088-4B63-9BDA-0CECFD8FE6BF}"/>
                </a:ext>
              </a:extLst>
            </p:cNvPr>
            <p:cNvCxnSpPr/>
            <p:nvPr/>
          </p:nvCxnSpPr>
          <p:spPr>
            <a:xfrm>
              <a:off x="585788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35232B1C-BA17-47D7-8EC4-A6FA94639357}"/>
                </a:ext>
              </a:extLst>
            </p:cNvPr>
            <p:cNvCxnSpPr/>
            <p:nvPr/>
          </p:nvCxnSpPr>
          <p:spPr>
            <a:xfrm>
              <a:off x="2921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9C0B7A88-07B8-4006-83A4-9775E56330FC}"/>
                </a:ext>
              </a:extLst>
            </p:cNvPr>
            <p:cNvCxnSpPr/>
            <p:nvPr/>
          </p:nvCxnSpPr>
          <p:spPr>
            <a:xfrm>
              <a:off x="8778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C95DC405-8389-4A07-9075-49586FC5C38A}"/>
                </a:ext>
              </a:extLst>
            </p:cNvPr>
            <p:cNvCxnSpPr/>
            <p:nvPr/>
          </p:nvCxnSpPr>
          <p:spPr>
            <a:xfrm>
              <a:off x="11699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C98523BC-FB5E-4A17-8196-29101995A258}"/>
                </a:ext>
              </a:extLst>
            </p:cNvPr>
            <p:cNvCxnSpPr/>
            <p:nvPr/>
          </p:nvCxnSpPr>
          <p:spPr>
            <a:xfrm>
              <a:off x="110220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ACD9206-271F-48E7-BF40-5D3BA0E55523}"/>
                </a:ext>
              </a:extLst>
            </p:cNvPr>
            <p:cNvCxnSpPr/>
            <p:nvPr/>
          </p:nvCxnSpPr>
          <p:spPr>
            <a:xfrm>
              <a:off x="11606213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A29F7B5-876C-4712-8DC6-7CADEB1A6132}"/>
                </a:ext>
              </a:extLst>
            </p:cNvPr>
            <p:cNvCxnSpPr/>
            <p:nvPr/>
          </p:nvCxnSpPr>
          <p:spPr>
            <a:xfrm>
              <a:off x="113141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14EA0CCB-1F5D-4570-AA71-CDC176FF7307}"/>
                </a:ext>
              </a:extLst>
            </p:cNvPr>
            <p:cNvCxnSpPr/>
            <p:nvPr/>
          </p:nvCxnSpPr>
          <p:spPr>
            <a:xfrm>
              <a:off x="118999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D24AB1E-218C-429C-B96B-6F40E2E367C5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4BACA4F-5C8E-4A1D-A2F2-2B9C468C19AB}"/>
                </a:ext>
              </a:extLst>
            </p:cNvPr>
            <p:cNvCxnSpPr/>
            <p:nvPr/>
          </p:nvCxnSpPr>
          <p:spPr>
            <a:xfrm>
              <a:off x="0" y="17557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8D1FD41-F515-4223-9316-CF49B10CA595}"/>
                </a:ext>
              </a:extLst>
            </p:cNvPr>
            <p:cNvCxnSpPr/>
            <p:nvPr/>
          </p:nvCxnSpPr>
          <p:spPr>
            <a:xfrm>
              <a:off x="0" y="20478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7CF3AD4F-5C51-48A8-90BA-A2B91CD10C8B}"/>
                </a:ext>
              </a:extLst>
            </p:cNvPr>
            <p:cNvCxnSpPr/>
            <p:nvPr/>
          </p:nvCxnSpPr>
          <p:spPr>
            <a:xfrm>
              <a:off x="0" y="23415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D0521A3-05EF-4F79-8505-9E2B2C339477}"/>
                </a:ext>
              </a:extLst>
            </p:cNvPr>
            <p:cNvCxnSpPr/>
            <p:nvPr/>
          </p:nvCxnSpPr>
          <p:spPr>
            <a:xfrm>
              <a:off x="0" y="26336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48810284-E24B-4D8D-BF44-856187577D2E}"/>
                </a:ext>
              </a:extLst>
            </p:cNvPr>
            <p:cNvCxnSpPr/>
            <p:nvPr/>
          </p:nvCxnSpPr>
          <p:spPr>
            <a:xfrm>
              <a:off x="0" y="29257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59626754-7ED6-4733-A6F7-0E45D9C47A48}"/>
                </a:ext>
              </a:extLst>
            </p:cNvPr>
            <p:cNvCxnSpPr/>
            <p:nvPr/>
          </p:nvCxnSpPr>
          <p:spPr>
            <a:xfrm>
              <a:off x="0" y="32194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2F52ADDF-24EC-47E3-83F8-3918E93DE11D}"/>
                </a:ext>
              </a:extLst>
            </p:cNvPr>
            <p:cNvCxnSpPr/>
            <p:nvPr/>
          </p:nvCxnSpPr>
          <p:spPr>
            <a:xfrm>
              <a:off x="0" y="35115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80AE4D0A-1497-4DA2-88D3-3815D6D31063}"/>
                </a:ext>
              </a:extLst>
            </p:cNvPr>
            <p:cNvCxnSpPr/>
            <p:nvPr/>
          </p:nvCxnSpPr>
          <p:spPr>
            <a:xfrm>
              <a:off x="0" y="38036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BDC60C3-9A65-4C10-AECB-C4427D8D5D31}"/>
                </a:ext>
              </a:extLst>
            </p:cNvPr>
            <p:cNvCxnSpPr/>
            <p:nvPr/>
          </p:nvCxnSpPr>
          <p:spPr>
            <a:xfrm>
              <a:off x="0" y="40957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C9FB55BF-AEB3-4AB1-B936-CBBF4162DAD5}"/>
                </a:ext>
              </a:extLst>
            </p:cNvPr>
            <p:cNvCxnSpPr/>
            <p:nvPr/>
          </p:nvCxnSpPr>
          <p:spPr>
            <a:xfrm>
              <a:off x="0" y="43894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D1890F9C-92E3-48D3-B57D-EF175EC62B01}"/>
                </a:ext>
              </a:extLst>
            </p:cNvPr>
            <p:cNvCxnSpPr/>
            <p:nvPr/>
          </p:nvCxnSpPr>
          <p:spPr>
            <a:xfrm>
              <a:off x="0" y="46815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F66EE5B9-25FA-4221-91A5-6C39DC942699}"/>
                </a:ext>
              </a:extLst>
            </p:cNvPr>
            <p:cNvCxnSpPr/>
            <p:nvPr/>
          </p:nvCxnSpPr>
          <p:spPr>
            <a:xfrm>
              <a:off x="0" y="49736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FFA7A0E3-84C0-4C49-BE98-62AF2F82E299}"/>
                </a:ext>
              </a:extLst>
            </p:cNvPr>
            <p:cNvCxnSpPr/>
            <p:nvPr/>
          </p:nvCxnSpPr>
          <p:spPr>
            <a:xfrm>
              <a:off x="0" y="52673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F93ACC3E-E2E4-4C54-8203-100979D0BA58}"/>
                </a:ext>
              </a:extLst>
            </p:cNvPr>
            <p:cNvCxnSpPr/>
            <p:nvPr/>
          </p:nvCxnSpPr>
          <p:spPr>
            <a:xfrm>
              <a:off x="0" y="55594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031AC7C3-0670-4E5F-863D-1A6F8AA689A9}"/>
                </a:ext>
              </a:extLst>
            </p:cNvPr>
            <p:cNvCxnSpPr/>
            <p:nvPr/>
          </p:nvCxnSpPr>
          <p:spPr>
            <a:xfrm>
              <a:off x="0" y="58515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A8AF3FCD-9C81-4FDC-B538-783D0C0F93B7}"/>
              </a:ext>
            </a:extLst>
          </p:cNvPr>
          <p:cNvSpPr/>
          <p:nvPr/>
        </p:nvSpPr>
        <p:spPr bwMode="auto">
          <a:xfrm>
            <a:off x="0" y="0"/>
            <a:ext cx="585941" cy="58578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33EF2950-F2B6-4DD3-A9C0-1CF8A171AA34}"/>
              </a:ext>
            </a:extLst>
          </p:cNvPr>
          <p:cNvSpPr/>
          <p:nvPr/>
        </p:nvSpPr>
        <p:spPr bwMode="auto">
          <a:xfrm>
            <a:off x="0" y="0"/>
            <a:ext cx="292176" cy="292100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50" name="Group 49" hidden="1">
            <a:extLst>
              <a:ext uri="{FF2B5EF4-FFF2-40B4-BE49-F238E27FC236}">
                <a16:creationId xmlns:a16="http://schemas.microsoft.com/office/drawing/2014/main" id="{CF3FA4BD-32C9-4A0E-A7B2-52453FFD146E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D14555E9-BE86-4E51-8046-561BE50ED1B7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D6509AF5-A4AA-4A63-BA43-F8D4BB72E871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94C82971-7C3E-4EED-BC20-8DA04C1F60C4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5B5FC1B7-D4CB-44E9-886A-8EF400A1EE15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699D719B-AC81-423C-8565-C830988B8B26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480FD7A5-EF72-40C7-A255-50A927D2F85F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9" name="Rectangle 78">
                <a:extLst>
                  <a:ext uri="{FF2B5EF4-FFF2-40B4-BE49-F238E27FC236}">
                    <a16:creationId xmlns:a16="http://schemas.microsoft.com/office/drawing/2014/main" id="{FA2651D8-3304-4065-A858-0B0D06396DC3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80" name="Rectangle 79">
                <a:extLst>
                  <a:ext uri="{FF2B5EF4-FFF2-40B4-BE49-F238E27FC236}">
                    <a16:creationId xmlns:a16="http://schemas.microsoft.com/office/drawing/2014/main" id="{BD60FE52-DD0E-4CE7-9889-F4D8670ABD64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52C126FB-9763-4157-AD1D-93D1AA2DDB7B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DAE68EE8-9769-4655-829C-9A70533EA38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A49B6813-D843-41DC-9D68-DA1A3B91C899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9DDA07BA-B624-4B9F-9C70-A1A9B81A7CD6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9FE03F51-5C12-4652-B1D3-0201DFC8F73E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40B943D4-0132-4ED7-8163-E68844D68CDD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C872454E-FC8C-4836-A901-2AC1314B5E5B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A8254FAC-35FC-4C6F-ABC0-12EE47C9273D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FAAC91DE-80CB-478B-A575-0D1968119AD1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4AE77872-2DF3-48E6-8D8B-D76DE8EF15CE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BFDF6C7D-44EA-4239-BF0B-8228D2C2F606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927D3FED-B46A-4A2C-A44B-D4D19A008B66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5D595194-0969-4924-9757-94D9B7D058A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D781E367-B51E-47B9-9A6A-53D950A154AB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5719CCF5-DF53-443B-96D3-6820C32CECC1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3B3ABF3C-98CA-4476-B23A-D2E617DB69F0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67ED3975-B756-4240-A0E0-3E87567CF30A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157520BE-A8AA-4C12-A21D-929D071F7D8A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8DE1E397-8822-47C6-9A8C-63CAB6A5A23F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72440505-9DC4-42FE-BA6D-2C99A98AF218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359BF2ED-545A-4D23-8594-8C8164901A54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FA3BE06D-7094-4181-B35C-4AE013C80F1F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4" name="Copyright">
            <a:extLst>
              <a:ext uri="{FF2B5EF4-FFF2-40B4-BE49-F238E27FC236}">
                <a16:creationId xmlns:a16="http://schemas.microsoft.com/office/drawing/2014/main" id="{F6B0086D-98A4-275F-E169-67E9FF28606F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6F1A75-305C-1A9A-D146-C73CD5DBF9D9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3036052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  <p:sldLayoutId id="2147483820" r:id="rId2"/>
    <p:sldLayoutId id="2147483821" r:id="rId3"/>
    <p:sldLayoutId id="2147483822" r:id="rId4"/>
    <p:sldLayoutId id="2147483823" r:id="rId5"/>
    <p:sldLayoutId id="2147483824" r:id="rId6"/>
    <p:sldLayoutId id="2147483825" r:id="rId7"/>
    <p:sldLayoutId id="2147483826" r:id="rId8"/>
    <p:sldLayoutId id="2147483827" r:id="rId9"/>
    <p:sldLayoutId id="2147483828" r:id="rId10"/>
    <p:sldLayoutId id="2147483829" r:id="rId11"/>
    <p:sldLayoutId id="2147483830" r:id="rId12"/>
    <p:sldLayoutId id="2147483831" r:id="rId13"/>
    <p:sldLayoutId id="2147483832" r:id="rId14"/>
    <p:sldLayoutId id="2147483833" r:id="rId15"/>
    <p:sldLayoutId id="2147483834" r:id="rId16"/>
    <p:sldLayoutId id="2147483835" r:id="rId17"/>
    <p:sldLayoutId id="2147483836" r:id="rId18"/>
    <p:sldLayoutId id="2147483837" r:id="rId19"/>
  </p:sldLayoutIdLst>
  <p:transition>
    <p:fade/>
  </p:transition>
  <p:hf sldNum="0" hdr="0" ftr="0" dt="0"/>
  <p:txStyles>
    <p:titleStyle>
      <a:lvl1pPr algn="l" defTabSz="931863" rtl="0" eaLnBrk="1" fontAlgn="base" hangingPunct="1">
        <a:spcBef>
          <a:spcPct val="0"/>
        </a:spcBef>
        <a:spcAft>
          <a:spcPct val="0"/>
        </a:spcAft>
        <a:defRPr lang="en-US" sz="3600" b="1" kern="1200" spc="-50" dirty="0">
          <a:ln w="3175">
            <a:noFill/>
          </a:ln>
          <a:solidFill>
            <a:schemeClr val="tx1"/>
          </a:solidFill>
          <a:latin typeface="72 Brand" panose="020B0504030603020204" pitchFamily="34" charset="0"/>
          <a:ea typeface="+mn-ea"/>
          <a:cs typeface="72 Bold" panose="020B0803030000000003" pitchFamily="34" charset="0"/>
        </a:defRPr>
      </a:lvl1pPr>
      <a:lvl2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286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8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1pPr>
      <a:lvl2pPr marL="4572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0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2pPr>
      <a:lvl3pPr marL="657225" indent="-20002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6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3pPr>
      <a:lvl4pPr marL="842963" indent="-1809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4pPr>
      <a:lvl5pPr marL="1023938" indent="-1682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50">
          <p15:clr>
            <a:srgbClr val="F26B43"/>
          </p15:clr>
        </p15:guide>
        <p15:guide id="2" pos="360">
          <p15:clr>
            <a:srgbClr val="F26B43"/>
          </p15:clr>
        </p15:guide>
        <p15:guide id="3" pos="7320">
          <p15:clr>
            <a:srgbClr val="F26B43"/>
          </p15:clr>
        </p15:guide>
        <p15:guide id="4" orient="horz" pos="368">
          <p15:clr>
            <a:srgbClr val="F26B43"/>
          </p15:clr>
        </p15:guide>
        <p15:guide id="5" pos="184">
          <p15:clr>
            <a:srgbClr val="F26B43"/>
          </p15:clr>
        </p15:guide>
        <p15:guide id="6" pos="7496">
          <p15:clr>
            <a:srgbClr val="F26B43"/>
          </p15:clr>
        </p15:guide>
        <p15:guide id="7" orient="horz" pos="175">
          <p15:clr>
            <a:srgbClr val="F26B43"/>
          </p15:clr>
        </p15:guide>
        <p15:guide id="8" orient="horz" pos="413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2" name="think-cell data - do not delete" hidden="1">
            <a:extLst>
              <a:ext uri="{FF2B5EF4-FFF2-40B4-BE49-F238E27FC236}">
                <a16:creationId xmlns:a16="http://schemas.microsoft.com/office/drawing/2014/main" id="{42380D68-F00C-BE6C-A1F0-DAEA038F31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2398679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6" imgW="306" imgH="306" progId="TCLayout.ActiveDocument.1">
                  <p:embed/>
                </p:oleObj>
              </mc:Choice>
              <mc:Fallback>
                <p:oleObj name="think-cell Slide" r:id="rId156" imgW="306" imgH="306" progId="TCLayout.ActiveDocument.1">
                  <p:embed/>
                  <p:pic>
                    <p:nvPicPr>
                      <p:cNvPr id="1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380D68-F00C-BE6C-A1F0-DAEA038F31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ackground">
            <a:extLst>
              <a:ext uri="{FF2B5EF4-FFF2-40B4-BE49-F238E27FC236}">
                <a16:creationId xmlns:a16="http://schemas.microsoft.com/office/drawing/2014/main" id="{57293E41-954C-9E9C-7DE2-32FEDBD5A1C6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4" name="Slide number"/>
          <p:cNvSpPr txBox="1"/>
          <p:nvPr userDrawn="1"/>
        </p:nvSpPr>
        <p:spPr bwMode="black">
          <a:xfrm>
            <a:off x="11546207" y="6536753"/>
            <a:ext cx="144270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b="0" i="0" noProof="0" smtClean="0">
                <a:latin typeface="+mn-lt"/>
              </a:rPr>
              <a:pPr marL="0" lvl="0" indent="0" algn="r">
                <a:buNone/>
              </a:pPr>
              <a:t>‹Nr.›</a:t>
            </a:fld>
            <a:endParaRPr lang="en-US" sz="900" b="0" i="0" noProof="0">
              <a:latin typeface="+mn-lt"/>
            </a:endParaRPr>
          </a:p>
        </p:txBody>
      </p:sp>
      <p:sp>
        <p:nvSpPr>
          <p:cNvPr id="12" name="Copyright Placeholder" descr="{&quot;templafy&quot;:{&quot;id&quot;:&quot;8960db9f-55d6-4683-a7ef-5191a33a6538&quot;}}">
            <a:extLst>
              <a:ext uri="{FF2B5EF4-FFF2-40B4-BE49-F238E27FC236}">
                <a16:creationId xmlns:a16="http://schemas.microsoft.com/office/drawing/2014/main" id="{539D88F9-B48F-F143-B90F-EDFB85A350E8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 b="0" i="0">
                <a:latin typeface="Arial" panose="020B0604020202020204" pitchFamily="34" charset="0"/>
              </a:rPr>
              <a:t>INTERNAL – SAP and Partners Only</a:t>
            </a:r>
          </a:p>
        </p:txBody>
      </p:sp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4001" y="1548560"/>
            <a:ext cx="11186476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4001" y="504000"/>
            <a:ext cx="1118647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Insert page title (sentence case)</a:t>
            </a:r>
          </a:p>
        </p:txBody>
      </p:sp>
      <p:grpSp>
        <p:nvGrpSpPr>
          <p:cNvPr id="6" name="Harvey 3" hidden="1">
            <a:extLst>
              <a:ext uri="{FF2B5EF4-FFF2-40B4-BE49-F238E27FC236}">
                <a16:creationId xmlns:a16="http://schemas.microsoft.com/office/drawing/2014/main" id="{B3E7C216-6801-4AB8-8D95-E7D60F39B210}"/>
              </a:ext>
            </a:extLst>
          </p:cNvPr>
          <p:cNvGrpSpPr>
            <a:grpSpLocks/>
          </p:cNvGrpSpPr>
          <p:nvPr userDrawn="1">
            <p:custDataLst>
              <p:tags r:id="rId33"/>
            </p:custDataLst>
          </p:nvPr>
        </p:nvGrpSpPr>
        <p:grpSpPr>
          <a:xfrm>
            <a:off x="3938799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7" name="Harvey 0/3 [0]">
              <a:extLst>
                <a:ext uri="{FF2B5EF4-FFF2-40B4-BE49-F238E27FC236}">
                  <a16:creationId xmlns:a16="http://schemas.microsoft.com/office/drawing/2014/main" id="{FC8CECD5-A3FB-4DD5-A846-DC09FDB6EB04}"/>
                </a:ext>
              </a:extLst>
            </p:cNvPr>
            <p:cNvSpPr>
              <a:spLocks noChangeAspect="1"/>
            </p:cNvSpPr>
            <p:nvPr>
              <p:custDataLst>
                <p:tags r:id="rId15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" name="Harvey 1/3 [1]">
              <a:extLst>
                <a:ext uri="{FF2B5EF4-FFF2-40B4-BE49-F238E27FC236}">
                  <a16:creationId xmlns:a16="http://schemas.microsoft.com/office/drawing/2014/main" id="{750B853B-8389-4427-AFB9-1CE880FE9BEE}"/>
                </a:ext>
              </a:extLst>
            </p:cNvPr>
            <p:cNvSpPr>
              <a:spLocks noChangeAspect="1"/>
            </p:cNvSpPr>
            <p:nvPr>
              <p:custDataLst>
                <p:tags r:id="rId15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" name="Harvey 2/3 [2]">
              <a:extLst>
                <a:ext uri="{FF2B5EF4-FFF2-40B4-BE49-F238E27FC236}">
                  <a16:creationId xmlns:a16="http://schemas.microsoft.com/office/drawing/2014/main" id="{0CA9A207-7055-4A72-8ED2-D82605C3D0C8}"/>
                </a:ext>
              </a:extLst>
            </p:cNvPr>
            <p:cNvSpPr>
              <a:spLocks noChangeAspect="1"/>
            </p:cNvSpPr>
            <p:nvPr>
              <p:custDataLst>
                <p:tags r:id="rId15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" name="Harvey 3/3 [3]">
              <a:extLst>
                <a:ext uri="{FF2B5EF4-FFF2-40B4-BE49-F238E27FC236}">
                  <a16:creationId xmlns:a16="http://schemas.microsoft.com/office/drawing/2014/main" id="{4422C816-875A-41F5-9DC0-8DBAE4C5C6CB}"/>
                </a:ext>
              </a:extLst>
            </p:cNvPr>
            <p:cNvSpPr>
              <a:spLocks noChangeAspect="1"/>
            </p:cNvSpPr>
            <p:nvPr>
              <p:custDataLst>
                <p:tags r:id="rId15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1" name="Harvey 4" hidden="1">
            <a:extLst>
              <a:ext uri="{FF2B5EF4-FFF2-40B4-BE49-F238E27FC236}">
                <a16:creationId xmlns:a16="http://schemas.microsoft.com/office/drawing/2014/main" id="{DDC5C333-7028-4F79-8940-98DC17723588}"/>
              </a:ext>
            </a:extLst>
          </p:cNvPr>
          <p:cNvGrpSpPr>
            <a:grpSpLocks/>
          </p:cNvGrpSpPr>
          <p:nvPr userDrawn="1">
            <p:custDataLst>
              <p:tags r:id="rId34"/>
            </p:custDataLst>
          </p:nvPr>
        </p:nvGrpSpPr>
        <p:grpSpPr>
          <a:xfrm>
            <a:off x="5391506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3" name="Harvey 0/4 [0]">
              <a:extLst>
                <a:ext uri="{FF2B5EF4-FFF2-40B4-BE49-F238E27FC236}">
                  <a16:creationId xmlns:a16="http://schemas.microsoft.com/office/drawing/2014/main" id="{70B331E2-39A8-4BAF-8DDD-C631B51EB56E}"/>
                </a:ext>
              </a:extLst>
            </p:cNvPr>
            <p:cNvSpPr>
              <a:spLocks noChangeAspect="1"/>
            </p:cNvSpPr>
            <p:nvPr>
              <p:custDataLst>
                <p:tags r:id="rId14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" name="Harvey 1/4 [1]">
              <a:extLst>
                <a:ext uri="{FF2B5EF4-FFF2-40B4-BE49-F238E27FC236}">
                  <a16:creationId xmlns:a16="http://schemas.microsoft.com/office/drawing/2014/main" id="{47F66FBA-2801-4875-BD13-0BF512FC3C6A}"/>
                </a:ext>
              </a:extLst>
            </p:cNvPr>
            <p:cNvSpPr>
              <a:spLocks noChangeAspect="1"/>
            </p:cNvSpPr>
            <p:nvPr>
              <p:custDataLst>
                <p:tags r:id="rId14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Harvey 2/4 [2]">
              <a:extLst>
                <a:ext uri="{FF2B5EF4-FFF2-40B4-BE49-F238E27FC236}">
                  <a16:creationId xmlns:a16="http://schemas.microsoft.com/office/drawing/2014/main" id="{99673DAB-5272-45DC-B222-CA8CAA9FD2BB}"/>
                </a:ext>
              </a:extLst>
            </p:cNvPr>
            <p:cNvSpPr>
              <a:spLocks noChangeAspect="1"/>
            </p:cNvSpPr>
            <p:nvPr>
              <p:custDataLst>
                <p:tags r:id="rId14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" name="Harvey 3/4 [3]">
              <a:extLst>
                <a:ext uri="{FF2B5EF4-FFF2-40B4-BE49-F238E27FC236}">
                  <a16:creationId xmlns:a16="http://schemas.microsoft.com/office/drawing/2014/main" id="{F9B9444B-C98D-45FC-BA92-881D06827328}"/>
                </a:ext>
              </a:extLst>
            </p:cNvPr>
            <p:cNvSpPr>
              <a:spLocks noChangeAspect="1"/>
            </p:cNvSpPr>
            <p:nvPr>
              <p:custDataLst>
                <p:tags r:id="rId15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" name="Harvey 4/4 [4]">
              <a:extLst>
                <a:ext uri="{FF2B5EF4-FFF2-40B4-BE49-F238E27FC236}">
                  <a16:creationId xmlns:a16="http://schemas.microsoft.com/office/drawing/2014/main" id="{5FFB853D-F550-4F16-8269-A070A19E381C}"/>
                </a:ext>
              </a:extLst>
            </p:cNvPr>
            <p:cNvSpPr>
              <a:spLocks noChangeAspect="1"/>
            </p:cNvSpPr>
            <p:nvPr>
              <p:custDataLst>
                <p:tags r:id="rId15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8" name="Harvey 8" hidden="1">
            <a:extLst>
              <a:ext uri="{FF2B5EF4-FFF2-40B4-BE49-F238E27FC236}">
                <a16:creationId xmlns:a16="http://schemas.microsoft.com/office/drawing/2014/main" id="{0630AB66-7B5F-41CE-A2EB-2EB4C67794AE}"/>
              </a:ext>
            </a:extLst>
          </p:cNvPr>
          <p:cNvGrpSpPr>
            <a:grpSpLocks/>
          </p:cNvGrpSpPr>
          <p:nvPr userDrawn="1">
            <p:custDataLst>
              <p:tags r:id="rId35"/>
            </p:custDataLst>
          </p:nvPr>
        </p:nvGrpSpPr>
        <p:grpSpPr>
          <a:xfrm>
            <a:off x="6844214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9" name="Harvey 0/8 [0]">
              <a:extLst>
                <a:ext uri="{FF2B5EF4-FFF2-40B4-BE49-F238E27FC236}">
                  <a16:creationId xmlns:a16="http://schemas.microsoft.com/office/drawing/2014/main" id="{051D5678-1EFE-40CF-8563-B5E9EA35A271}"/>
                </a:ext>
              </a:extLst>
            </p:cNvPr>
            <p:cNvSpPr>
              <a:spLocks noChangeAspect="1"/>
            </p:cNvSpPr>
            <p:nvPr>
              <p:custDataLst>
                <p:tags r:id="rId13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" name="Harvey 1/8 [1]">
              <a:extLst>
                <a:ext uri="{FF2B5EF4-FFF2-40B4-BE49-F238E27FC236}">
                  <a16:creationId xmlns:a16="http://schemas.microsoft.com/office/drawing/2014/main" id="{E5DDEB4B-B8B3-42DA-AF30-4FD0A1770D91}"/>
                </a:ext>
              </a:extLst>
            </p:cNvPr>
            <p:cNvSpPr>
              <a:spLocks noChangeAspect="1"/>
            </p:cNvSpPr>
            <p:nvPr>
              <p:custDataLst>
                <p:tags r:id="rId1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1" name="Harvey 2/8 [2]">
              <a:extLst>
                <a:ext uri="{FF2B5EF4-FFF2-40B4-BE49-F238E27FC236}">
                  <a16:creationId xmlns:a16="http://schemas.microsoft.com/office/drawing/2014/main" id="{FB9200C4-0418-4CEF-BBB8-18F997AD7CA8}"/>
                </a:ext>
              </a:extLst>
            </p:cNvPr>
            <p:cNvSpPr>
              <a:spLocks noChangeAspect="1"/>
            </p:cNvSpPr>
            <p:nvPr>
              <p:custDataLst>
                <p:tags r:id="rId1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2" name="Harvey 3/8 [3]">
              <a:extLst>
                <a:ext uri="{FF2B5EF4-FFF2-40B4-BE49-F238E27FC236}">
                  <a16:creationId xmlns:a16="http://schemas.microsoft.com/office/drawing/2014/main" id="{8E4DE7E8-0809-4E2E-BE6A-E989A6AEBF62}"/>
                </a:ext>
              </a:extLst>
            </p:cNvPr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3" name="Harvey 4/8 [4]">
              <a:extLst>
                <a:ext uri="{FF2B5EF4-FFF2-40B4-BE49-F238E27FC236}">
                  <a16:creationId xmlns:a16="http://schemas.microsoft.com/office/drawing/2014/main" id="{F839E6A9-0DED-402B-8F4C-2176769B55CD}"/>
                </a:ext>
              </a:extLst>
            </p:cNvPr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4" name="Harvey 5/8 [5]">
              <a:extLst>
                <a:ext uri="{FF2B5EF4-FFF2-40B4-BE49-F238E27FC236}">
                  <a16:creationId xmlns:a16="http://schemas.microsoft.com/office/drawing/2014/main" id="{C3EE8663-AD08-4237-8344-6543EC4B688C}"/>
                </a:ext>
              </a:extLst>
            </p:cNvPr>
            <p:cNvSpPr>
              <a:spLocks noChangeAspect="1"/>
            </p:cNvSpPr>
            <p:nvPr>
              <p:custDataLst>
                <p:tags r:id="rId1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5" name="Harvey 6/8 [6]">
              <a:extLst>
                <a:ext uri="{FF2B5EF4-FFF2-40B4-BE49-F238E27FC236}">
                  <a16:creationId xmlns:a16="http://schemas.microsoft.com/office/drawing/2014/main" id="{ADE6F931-D156-4E59-A3ED-0B14B5F0EF7E}"/>
                </a:ext>
              </a:extLst>
            </p:cNvPr>
            <p:cNvSpPr>
              <a:spLocks noChangeAspect="1"/>
            </p:cNvSpPr>
            <p:nvPr>
              <p:custDataLst>
                <p:tags r:id="rId1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6" name="Harvey 7/8 [7]">
              <a:extLst>
                <a:ext uri="{FF2B5EF4-FFF2-40B4-BE49-F238E27FC236}">
                  <a16:creationId xmlns:a16="http://schemas.microsoft.com/office/drawing/2014/main" id="{A36821AE-2FF1-4F6E-AAF3-1BEA6AE153B8}"/>
                </a:ext>
              </a:extLst>
            </p:cNvPr>
            <p:cNvSpPr>
              <a:spLocks noChangeAspect="1"/>
            </p:cNvSpPr>
            <p:nvPr>
              <p:custDataLst>
                <p:tags r:id="rId14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7" name="Harvey 8/8 [8]">
              <a:extLst>
                <a:ext uri="{FF2B5EF4-FFF2-40B4-BE49-F238E27FC236}">
                  <a16:creationId xmlns:a16="http://schemas.microsoft.com/office/drawing/2014/main" id="{2D277E47-45D5-4503-8443-BED560C6560A}"/>
                </a:ext>
              </a:extLst>
            </p:cNvPr>
            <p:cNvSpPr>
              <a:spLocks noChangeAspect="1"/>
            </p:cNvSpPr>
            <p:nvPr>
              <p:custDataLst>
                <p:tags r:id="rId14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28" name="Harvey 100" hidden="1">
            <a:extLst>
              <a:ext uri="{FF2B5EF4-FFF2-40B4-BE49-F238E27FC236}">
                <a16:creationId xmlns:a16="http://schemas.microsoft.com/office/drawing/2014/main" id="{6D5D9337-395C-4FE4-97E6-E1CD47A644E9}"/>
              </a:ext>
            </a:extLst>
          </p:cNvPr>
          <p:cNvGrpSpPr/>
          <p:nvPr userDrawn="1">
            <p:custDataLst>
              <p:tags r:id="rId36"/>
            </p:custDataLst>
          </p:nvPr>
        </p:nvGrpSpPr>
        <p:grpSpPr>
          <a:xfrm>
            <a:off x="8296923" y="3978000"/>
            <a:ext cx="1024878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29" name="Harvey 0/100 [0]">
              <a:extLst>
                <a:ext uri="{FF2B5EF4-FFF2-40B4-BE49-F238E27FC236}">
                  <a16:creationId xmlns:a16="http://schemas.microsoft.com/office/drawing/2014/main" id="{C2D4C837-2D4B-4D6B-81F8-9B001989609B}"/>
                </a:ext>
              </a:extLst>
            </p:cNvPr>
            <p:cNvSpPr>
              <a:spLocks noChangeAspect="1"/>
            </p:cNvSpPr>
            <p:nvPr>
              <p:custDataLst>
                <p:tags r:id="rId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0" name="Harvey 1/100 [1]">
              <a:extLst>
                <a:ext uri="{FF2B5EF4-FFF2-40B4-BE49-F238E27FC236}">
                  <a16:creationId xmlns:a16="http://schemas.microsoft.com/office/drawing/2014/main" id="{BACD6AAA-4A1C-46BE-B491-9A4A9C7C56F3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1" name="Harvey 2/100 [2]">
              <a:extLst>
                <a:ext uri="{FF2B5EF4-FFF2-40B4-BE49-F238E27FC236}">
                  <a16:creationId xmlns:a16="http://schemas.microsoft.com/office/drawing/2014/main" id="{701024C3-4DEF-477C-9CFB-100E0303499E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2" name="Harvey 3/100 [3]">
              <a:extLst>
                <a:ext uri="{FF2B5EF4-FFF2-40B4-BE49-F238E27FC236}">
                  <a16:creationId xmlns:a16="http://schemas.microsoft.com/office/drawing/2014/main" id="{46A461CD-8D28-4422-AF2A-8267EFA51CAD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3" name="Harvey 4/100 [4]">
              <a:extLst>
                <a:ext uri="{FF2B5EF4-FFF2-40B4-BE49-F238E27FC236}">
                  <a16:creationId xmlns:a16="http://schemas.microsoft.com/office/drawing/2014/main" id="{0A337C3A-F021-437D-9E3D-FDE5AF266029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BDF66AF7-3D75-4118-B7E6-241B2C41B2C9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E74E7438-4315-4097-9BA7-F0CE3252AC14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FEBA4E91-97BB-4DAC-B193-66FA4828DB26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EEB85E02-177B-40CF-B926-A4423CC7C827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C133BC7F-B0E3-404F-92D1-BB930C4F3311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F2FB72A6-CDF7-48B3-A3B8-5A5FC061802C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F3110C8B-1B18-4579-AB3F-0F4A0840CF38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84A1B722-E5AC-45F7-9498-7FF502B6FA2B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A5599F20-B957-4DF9-8B04-F2B77AAF0BDB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F74357FC-EB3D-46C4-B56A-5007C9F4FB84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32E8E8F3-9DBC-46F4-9700-CAF071913650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71360883-3CF3-4439-9568-E456C60454A8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AE88FC9E-FB95-4413-AE3E-B8BF504735B5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62593B83-E4BE-4CE8-9B0B-25AF9B7D4254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CD41838E-0172-403D-9B68-FD51310F5400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EDE3F4CF-CB3E-40C2-B070-AC09F1E8FBD5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CD8E25E7-83D2-4F78-92A7-435281704491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C6A696FB-9EFC-47F6-9860-247C48C1FC3D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252958D2-EE89-4FBF-BF7B-C8AFAD704413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314E82DC-04B6-406C-9D65-1115F4D2AA22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669D1B60-A74F-4296-8610-F3DCDDC15022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FF6DD112-04B6-4656-AB9D-1F9950FEE2D9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E2928B53-FC5C-427C-AE65-9286773D84B2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D8CF4F20-8FEC-47FF-9B86-E818143B2C19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E1AF074D-4599-4D0E-8078-66303FEBDE44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2DF9C982-C062-4899-8A5F-20F49AD9E1B5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E98CD797-9DD9-4143-9058-D1ABF95E7406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39029FE4-844F-47DA-8FEF-FB68673FF10C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B99AA4D4-9C74-447B-89EF-8FD268FF95EE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0880CCDE-4DDE-49A8-AFB2-FDDCE314B4D3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F37E834A-F9D8-4623-BC85-60359856CCD0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15163940-B229-4368-B727-3714123C78AB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64BAECDC-27C7-4333-B9D8-59DE42A1B1AA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4F018A0A-A74A-4E47-BC47-203679D4F8C0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ACA75957-9FDB-46A2-82EC-77103CBEAC52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025DFA7F-A073-422A-8D20-E27D1ABE4342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BF311CE9-A4CB-4965-8F0F-5B6811E9FB20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1B415A3D-1E85-4E6A-8BAB-3BB56600BA4F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7EAD6077-4487-4E7D-846D-445E65B5291C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4B57ADAF-4A83-4CB4-8920-E2B9F994E83E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FF3E5416-AC43-4CBB-A32A-A966ED03106F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49AFF9C1-C19A-487C-A4C1-47DA87277C3B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F35AEE09-D82F-438F-9D01-96C6876241F1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4FC3325B-EEB2-4420-9715-1149CEACE9AC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3BE00D50-8FCE-4E11-AA24-10B621732F20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97083993-8BFD-443F-A3A3-D28EF389CE2B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BDE38762-18E9-47FF-895E-325F5976ECAA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785EAA21-FBCD-46DC-8430-7AB12F5A66AF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858D54BA-F4A5-4C67-830E-E85FF6EE735D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AC41BD7B-E1FA-4AED-B11C-E03936A672E6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BAF901A0-5FD1-4B29-9AF9-DB8B19412429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3EFF555D-6B7F-481F-ADC2-746953BA7F97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A4D3BE31-8C07-4912-AB8B-8331A665C238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E7B5A5D9-6DD2-4B0A-9557-7A7AF774103E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88458C0E-D234-4C86-A6CC-B8CD6C445F00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0924D2C6-D224-49FD-A4B8-312AFD605E78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F9FB23C2-D568-49AC-B8FD-0480EB019739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9EF3159D-F4FB-4032-BCCB-55E6ED5EEFC7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9362C8EA-6D15-4E0C-8AE9-B1B50EB297B8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91EB375D-1444-4BE3-A696-66272A1564CD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9A3002B1-5D17-4BCB-9A44-B2FB4025D02F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E5F2FDE4-04B2-4A45-A685-14E0C51883A5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D399A169-3845-4CD5-A62C-F4586F1FAFE8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E12F5173-9960-47F5-9A91-B043294E14CB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DD9B9229-3D3A-4706-BEEC-04C19A30C5C3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795A4CC8-0C08-491C-8D7F-95EC8E0E25B8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91862A76-5FCC-4C25-9A3F-A10651AC7725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46969644-17D9-45C9-A88A-9A88622DCE45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F89621F9-3ABB-450D-913E-7B467F289A9B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89EE4B1F-E703-471D-8307-BFB9EDEDB9F7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8AB2EEA8-04AC-4B6C-8D90-28093DB647E6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6F4E00F2-EA6F-4809-B2FD-4CE3ABE8C480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CF5CA593-7B87-4492-9B35-2255514CB496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8C036464-458E-48D4-BAC8-84819F820C60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6FD5AC00-8293-447C-B728-B963DD67B1C2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29C0F859-BC49-430F-8C59-C0B9109E47A3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F78719E3-0417-4867-B70D-21538B3AC36E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9C5D0905-7412-4C75-BC20-E51105CA783D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96AA2E20-CC65-4632-B3D4-93E962B59D4C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9B4360A3-E0B2-48F7-B5A8-D24513748A82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D694B21E-EEA0-48FA-A35C-7B6570B3F861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85E1AF41-C21D-4514-B37E-CC830BC09C0A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E3948F2E-FD5F-4107-B122-9AC75FE0CD9E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744E57ED-019F-4A8B-A06E-9FB965FEBB23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5567719B-31CA-4A86-801E-E0531122E504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2CD4B3A1-B882-43A6-A4CA-C9FCA394B28B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68606D93-5175-4900-AD89-6D0710AFE75F}"/>
                </a:ext>
              </a:extLst>
            </p:cNvPr>
            <p:cNvSpPr>
              <a:spLocks noChangeAspect="1"/>
            </p:cNvSpPr>
            <p:nvPr>
              <p:custDataLst>
                <p:tags r:id="rId1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7EE30864-DDCC-4BBA-B70A-48810E224581}"/>
                </a:ext>
              </a:extLst>
            </p:cNvPr>
            <p:cNvSpPr>
              <a:spLocks noChangeAspect="1"/>
            </p:cNvSpPr>
            <p:nvPr>
              <p:custDataLst>
                <p:tags r:id="rId1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608CA488-A707-4C7A-9287-9DA9A38ED3D4}"/>
                </a:ext>
              </a:extLst>
            </p:cNvPr>
            <p:cNvSpPr>
              <a:spLocks noChangeAspect="1"/>
            </p:cNvSpPr>
            <p:nvPr>
              <p:custDataLst>
                <p:tags r:id="rId1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FE1836A9-F92A-4F07-BBB8-2274E290E952}"/>
                </a:ext>
              </a:extLst>
            </p:cNvPr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3169BE73-7F99-46E3-BDA9-D9BB85BE343E}"/>
                </a:ext>
              </a:extLst>
            </p:cNvPr>
            <p:cNvSpPr>
              <a:spLocks noChangeAspect="1"/>
            </p:cNvSpPr>
            <p:nvPr>
              <p:custDataLst>
                <p:tags r:id="rId1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12E3B5ED-B1AB-4A99-BD20-FF638135BE37}"/>
                </a:ext>
              </a:extLst>
            </p:cNvPr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75A7FEAD-6C4B-4F7A-BB60-3A68D96114DE}"/>
                </a:ext>
              </a:extLst>
            </p:cNvPr>
            <p:cNvSpPr>
              <a:spLocks noChangeAspect="1"/>
            </p:cNvSpPr>
            <p:nvPr>
              <p:custDataLst>
                <p:tags r:id="rId1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C4B5128E-9380-4C38-A1EB-CB12E7401609}"/>
                </a:ext>
              </a:extLst>
            </p:cNvPr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50F634E4-E5B9-4DA6-9F91-8AF5B6ACF1FB}"/>
                </a:ext>
              </a:extLst>
            </p:cNvPr>
            <p:cNvSpPr>
              <a:spLocks noChangeAspect="1"/>
            </p:cNvSpPr>
            <p:nvPr>
              <p:custDataLst>
                <p:tags r:id="rId1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94AA53CD-8233-470E-AFEE-0BCC721BFAE9}"/>
                </a:ext>
              </a:extLst>
            </p:cNvPr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1B41FB17-6D57-4EE1-9C4C-9C305D5D6BEC}"/>
              </a:ext>
            </a:extLst>
          </p:cNvPr>
          <p:cNvSpPr txBox="1"/>
          <p:nvPr userDrawn="1"/>
        </p:nvSpPr>
        <p:spPr>
          <a:xfrm>
            <a:off x="503238" y="5984670"/>
            <a:ext cx="1018820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b="0" i="0" kern="0"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7C793D27-9296-461C-878D-BA16CBD91587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704CE42F-5A9B-4CC0-8048-99928A53C0C4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348603E9-9858-4213-9B5B-929AD136906A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7EEB833A-9AFC-4A66-8469-9D3897CE1E66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D41FF937-AB04-46EE-82EF-FCE26A919A7B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06C5579C-7A02-48D6-A733-4B9E6D9F1443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89EB4C18-DFF3-4A27-ACBB-99DCDC8961A8}"/>
              </a:ext>
            </a:extLst>
          </p:cNvPr>
          <p:cNvSpPr>
            <a:spLocks/>
          </p:cNvSpPr>
          <p:nvPr userDrawn="1"/>
        </p:nvSpPr>
        <p:spPr>
          <a:xfrm>
            <a:off x="9483344" y="1097679"/>
            <a:ext cx="2479101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15" tIns="143215" rIns="143215" bIns="143215" rtlCol="0" anchor="t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906252E7-98DB-45F0-8278-EB60F71B7340}"/>
              </a:ext>
            </a:extLst>
          </p:cNvPr>
          <p:cNvSpPr>
            <a:spLocks/>
          </p:cNvSpPr>
          <p:nvPr userDrawn="1"/>
        </p:nvSpPr>
        <p:spPr>
          <a:xfrm>
            <a:off x="9483344" y="1097671"/>
            <a:ext cx="2479101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15" tIns="143215" rIns="143215" bIns="143215" rtlCol="0" anchor="t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904633E3-6BC9-4C5E-B74A-8B9D4AE95B20}"/>
              </a:ext>
            </a:extLst>
          </p:cNvPr>
          <p:cNvSpPr/>
          <p:nvPr userDrawn="1"/>
        </p:nvSpPr>
        <p:spPr bwMode="gray">
          <a:xfrm rot="18900000">
            <a:off x="2916644" y="2819464"/>
            <a:ext cx="6361889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797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D1E39570-4267-1A7A-C213-71CA13959BCF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490315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3" r:id="rId1"/>
    <p:sldLayoutId id="2147483844" r:id="rId2"/>
    <p:sldLayoutId id="2147483845" r:id="rId3"/>
    <p:sldLayoutId id="2147483846" r:id="rId4"/>
    <p:sldLayoutId id="2147483847" r:id="rId5"/>
    <p:sldLayoutId id="2147483848" r:id="rId6"/>
    <p:sldLayoutId id="2147483849" r:id="rId7"/>
    <p:sldLayoutId id="2147483850" r:id="rId8"/>
    <p:sldLayoutId id="2147483851" r:id="rId9"/>
    <p:sldLayoutId id="2147483852" r:id="rId10"/>
    <p:sldLayoutId id="2147483853" r:id="rId11"/>
    <p:sldLayoutId id="2147483854" r:id="rId12"/>
    <p:sldLayoutId id="2147483855" r:id="rId13"/>
    <p:sldLayoutId id="2147483856" r:id="rId14"/>
    <p:sldLayoutId id="2147483857" r:id="rId15"/>
    <p:sldLayoutId id="2147483858" r:id="rId16"/>
    <p:sldLayoutId id="2147483859" r:id="rId17"/>
    <p:sldLayoutId id="2147483860" r:id="rId18"/>
    <p:sldLayoutId id="2147483861" r:id="rId19"/>
    <p:sldLayoutId id="2147483862" r:id="rId20"/>
    <p:sldLayoutId id="2147483863" r:id="rId21"/>
    <p:sldLayoutId id="2147483864" r:id="rId22"/>
    <p:sldLayoutId id="2147483865" r:id="rId23"/>
    <p:sldLayoutId id="2147483866" r:id="rId24"/>
    <p:sldLayoutId id="2147483867" r:id="rId25"/>
    <p:sldLayoutId id="2147483868" r:id="rId26"/>
    <p:sldLayoutId id="2147483869" r:id="rId27"/>
    <p:sldLayoutId id="2147483870" r:id="rId28"/>
    <p:sldLayoutId id="2147483871" r:id="rId29"/>
    <p:sldLayoutId id="2147483872" r:id="rId30"/>
  </p:sldLayoutIdLst>
  <p:hf hdr="0" ftr="0" dt="0"/>
  <p:txStyles>
    <p:titleStyle>
      <a:lvl1pPr algn="l" defTabSz="1088231" rtl="0" eaLnBrk="1" latinLnBrk="0" hangingPunct="1">
        <a:spcBef>
          <a:spcPct val="0"/>
        </a:spcBef>
        <a:buNone/>
        <a:defRPr sz="2399" b="0" i="0" kern="1200" baseline="0">
          <a:solidFill>
            <a:schemeClr val="tx1"/>
          </a:solidFill>
          <a:latin typeface="72 Brand Medium" panose="020B0504030603020204" pitchFamily="34" charset="0"/>
          <a:ea typeface="+mj-ea"/>
          <a:cs typeface="+mj-cs"/>
        </a:defRPr>
      </a:lvl1pPr>
    </p:titleStyle>
    <p:bodyStyle>
      <a:lvl1pPr marL="0" indent="0" algn="l" defTabSz="1088231" rtl="0" eaLnBrk="1" latinLnBrk="0" hangingPunct="1">
        <a:spcBef>
          <a:spcPts val="1799"/>
        </a:spcBef>
        <a:buClrTx/>
        <a:buSzPct val="80000"/>
        <a:buFont typeface="Roboto" panose="02000000000000000000" pitchFamily="2" charset="0"/>
        <a:buChar char="​"/>
        <a:defRPr sz="1999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1pPr>
      <a:lvl2pPr marL="179910" indent="-179910" algn="l" defTabSz="1088231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799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2pPr>
      <a:lvl3pPr marL="358667" indent="-179334" algn="l" defTabSz="1088231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799" b="0" i="0" kern="1200" noProof="0" dirty="0" smtClean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3pPr>
      <a:lvl4pPr marL="539730" indent="-179910" algn="l" defTabSz="1088231" rtl="0" eaLnBrk="1" latinLnBrk="0" hangingPunct="1">
        <a:spcBef>
          <a:spcPts val="300"/>
        </a:spcBef>
        <a:buClr>
          <a:schemeClr val="tx1"/>
        </a:buClr>
        <a:buSzPct val="80000"/>
        <a:buFont typeface="Courier New" panose="02070309020205020404" pitchFamily="49" charset="0"/>
        <a:buChar char="o"/>
        <a:defRPr sz="16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4pPr>
      <a:lvl5pPr marL="719640" indent="-179910" algn="l" defTabSz="1088231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b="0" i="0" kern="1200" baseline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5pPr>
      <a:lvl6pPr marL="2992637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536753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080868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624985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1pPr>
      <a:lvl2pPr marL="544116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2pPr>
      <a:lvl3pPr marL="1088231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3pPr>
      <a:lvl4pPr marL="1632347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4pPr>
      <a:lvl5pPr marL="2176463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5pPr>
      <a:lvl6pPr marL="2720580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6pPr>
      <a:lvl7pPr marL="3264695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7pPr>
      <a:lvl8pPr marL="3808811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8pPr>
      <a:lvl9pPr marL="4352927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tags" Target="../tags/tag256.xml"/><Relationship Id="rId2" Type="http://schemas.openxmlformats.org/officeDocument/2006/relationships/tags" Target="../tags/tag257.xml"/><Relationship Id="rId3" Type="http://schemas.openxmlformats.org/officeDocument/2006/relationships/slideLayout" Target="../slideLayouts/slideLayout29.xml"/><Relationship Id="rId4" Type="http://schemas.openxmlformats.org/officeDocument/2006/relationships/notesSlide" Target="../notesSlides/notesSlide1.xml"/><Relationship Id="rId5" Type="http://schemas.openxmlformats.org/officeDocument/2006/relationships/oleObject" Target="../embeddings/oleObject7.bin"/><Relationship Id="rId6" Type="http://schemas.openxmlformats.org/officeDocument/2006/relationships/image" Target="../media/image10.emf"/><Relationship Id="rId7" Type="http://schemas.openxmlformats.org/officeDocument/2006/relationships/chart" Target="../charts/chart1.xml"/></Relationships>
</file>

<file path=ppt/slides/_rels/slide2.xml.rels><?xml version='1.0' encoding='UTF-8' standalone='yes'?>
<Relationships xmlns="http://schemas.openxmlformats.org/package/2006/relationships"><Relationship Id="rId1" Type="http://schemas.openxmlformats.org/officeDocument/2006/relationships/tags" Target="../tags/tag258.xml"/><Relationship Id="rId2" Type="http://schemas.openxmlformats.org/officeDocument/2006/relationships/slideLayout" Target="../slideLayouts/slideLayout29.xml"/><Relationship Id="rId3" Type="http://schemas.openxmlformats.org/officeDocument/2006/relationships/notesSlide" Target="../notesSlides/notesSlide2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0.emf"/></Relationships>
</file>

<file path=ppt/slides/_rels/slide3.xml.rels><?xml version='1.0' encoding='UTF-8' standalone='yes'?>
<Relationships xmlns="http://schemas.openxmlformats.org/package/2006/relationships"><Relationship Id="rId1" Type="http://schemas.openxmlformats.org/officeDocument/2006/relationships/tags" Target="../tags/tag259.xml"/><Relationship Id="rId2" Type="http://schemas.openxmlformats.org/officeDocument/2006/relationships/slideLayout" Target="../slideLayouts/slideLayout29.xml"/><Relationship Id="rId3" Type="http://schemas.openxmlformats.org/officeDocument/2006/relationships/notesSlide" Target="../notesSlides/notesSlide3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0.emf"/></Relationships>
</file>

<file path=ppt/slides/_rels/slide4.xml.rels><?xml version='1.0' encoding='UTF-8' standalone='yes'?>
<Relationships xmlns="http://schemas.openxmlformats.org/package/2006/relationships"><Relationship Id="rId1" Type="http://schemas.openxmlformats.org/officeDocument/2006/relationships/tags" Target="../tags/tag260.xml"/><Relationship Id="rId2" Type="http://schemas.openxmlformats.org/officeDocument/2006/relationships/slideLayout" Target="../slideLayouts/slideLayout29.xml"/><Relationship Id="rId3" Type="http://schemas.openxmlformats.org/officeDocument/2006/relationships/notesSlide" Target="../notesSlides/notesSlide4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0.emf"/></Relationships>
</file>

<file path=ppt/slides/_rels/slide5.xml.rels><?xml version='1.0' encoding='UTF-8' standalone='yes'?>
<Relationships xmlns="http://schemas.openxmlformats.org/package/2006/relationships"><Relationship Id="rId1" Type="http://schemas.openxmlformats.org/officeDocument/2006/relationships/tags" Target="../tags/tag261.xml"/><Relationship Id="rId2" Type="http://schemas.openxmlformats.org/officeDocument/2006/relationships/slideLayout" Target="../slideLayouts/slideLayout29.xml"/><Relationship Id="rId3" Type="http://schemas.openxmlformats.org/officeDocument/2006/relationships/notesSlide" Target="../notesSlides/notesSlide5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0.emf"/></Relationships>
</file>

<file path=ppt/slides/_rels/slide6.xml.rels><?xml version='1.0' encoding='UTF-8' standalone='yes'?>
<Relationships xmlns="http://schemas.openxmlformats.org/package/2006/relationships"><Relationship Id="rId1" Type="http://schemas.openxmlformats.org/officeDocument/2006/relationships/tags" Target="../tags/tag262.xml"/><Relationship Id="rId2" Type="http://schemas.openxmlformats.org/officeDocument/2006/relationships/slideLayout" Target="../slideLayouts/slideLayout29.xml"/><Relationship Id="rId3" Type="http://schemas.openxmlformats.org/officeDocument/2006/relationships/notesSlide" Target="../notesSlides/notesSlide6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0.emf"/></Relationships>
</file>

<file path=ppt/slides/_rels/slide7.xml.rels><?xml version='1.0' encoding='UTF-8' standalone='yes'?>
<Relationships xmlns="http://schemas.openxmlformats.org/package/2006/relationships"><Relationship Id="rId1" Type="http://schemas.openxmlformats.org/officeDocument/2006/relationships/tags" Target="../tags/tag263.xml"/><Relationship Id="rId2" Type="http://schemas.openxmlformats.org/officeDocument/2006/relationships/slideLayout" Target="../slideLayouts/slideLayout16.xml"/><Relationship Id="rId3" Type="http://schemas.openxmlformats.org/officeDocument/2006/relationships/notesSlide" Target="../notesSlides/notesSlide7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11.emf"/></Relationships>
</file>

<file path=ppt/slides/_rels/slide8.xml.rels><?xml version='1.0' encoding='UTF-8' standalone='yes'?>
<Relationships xmlns="http://schemas.openxmlformats.org/package/2006/relationships"><Relationship Id="rId1" Type="http://schemas.openxmlformats.org/officeDocument/2006/relationships/tags" Target="../tags/tag264.xml"/><Relationship Id="rId2" Type="http://schemas.openxmlformats.org/officeDocument/2006/relationships/slideLayout" Target="../slideLayouts/slideLayout16.xml"/><Relationship Id="rId3" Type="http://schemas.openxmlformats.org/officeDocument/2006/relationships/notesSlide" Target="../notesSlides/notesSlide8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11.emf"/></Relationships>
</file>

<file path=ppt/slides/_rels/slide9.xml.rels><?xml version='1.0' encoding='UTF-8' standalone='yes'?>
<Relationships xmlns="http://schemas.openxmlformats.org/package/2006/relationships"><Relationship Id="rId1" Type="http://schemas.openxmlformats.org/officeDocument/2006/relationships/tags" Target="../tags/tag265.xml"/><Relationship Id="rId2" Type="http://schemas.openxmlformats.org/officeDocument/2006/relationships/slideLayout" Target="../slideLayouts/slideLayout15.xml"/><Relationship Id="rId3" Type="http://schemas.openxmlformats.org/officeDocument/2006/relationships/notesSlide" Target="../notesSlides/notesSlide9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1043E7-B905-3B9C-2B9F-87C3913EA7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1352CF31-4D28-DF5E-58D9-50EEC1DC008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>
                        <a:extLst>
                          <a:ext uri="{FF2B5EF4-FFF2-40B4-BE49-F238E27FC236}">
                            <a16:creationId xmlns:a16="http://schemas.microsoft.com/office/drawing/2014/main" id="{1352CF31-4D28-DF5E-58D9-50EEC1DC00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47C334C8-5CA2-7D3D-CFB3-0BB19D3DD6EF}"/>
              </a:ext>
            </a:extLst>
          </p:cNvPr>
          <p:cNvSpPr/>
          <p:nvPr/>
        </p:nvSpPr>
        <p:spPr bwMode="gray">
          <a:xfrm>
            <a:off x="766106" y="6391034"/>
            <a:ext cx="1325465" cy="142962"/>
          </a:xfrm>
          <a:prstGeom prst="rect">
            <a:avLst/>
          </a:prstGeom>
          <a:solidFill>
            <a:schemeClr val="bg1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" name="Rectangle 9">
            <a:extLst>
              <a:ext uri="{FF2B5EF4-FFF2-40B4-BE49-F238E27FC236}">
                <a16:creationId xmlns:a16="http://schemas.microsoft.com/office/drawing/2014/main" id="{A3DAD939-0090-EF2C-9FB6-76155A6BEDAA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/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Overview of scheduled Use Case Adoption per LoB</a:t>
            </a:r>
            <a:endParaRPr lang="en-US" sz="2000" b="0" dirty="0">
              <a:latin typeface="+mn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C8D8452-8F1D-305A-E321-D2192EF9F6C5}"/>
              </a:ext>
            </a:extLst>
          </p:cNvPr>
          <p:cNvSpPr/>
          <p:nvPr/>
        </p:nvSpPr>
        <p:spPr bwMode="gray">
          <a:xfrm>
            <a:off x="523811" y="1454032"/>
            <a:ext cx="3633694" cy="3915976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D5AB9ED-B462-E215-432B-4FB35CDD5BA8}"/>
              </a:ext>
            </a:extLst>
          </p:cNvPr>
          <p:cNvSpPr/>
          <p:nvPr/>
        </p:nvSpPr>
        <p:spPr bwMode="gray">
          <a:xfrm>
            <a:off x="950606" y="1466865"/>
            <a:ext cx="2743200" cy="21402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Arial Unicode MS" pitchFamily="34" charset="-128"/>
                <a:cs typeface="Arial Unicode MS" pitchFamily="34" charset="-128"/>
              </a:rPr>
              <a:t>MARKETING</a:t>
            </a:r>
            <a:endParaRPr kumimoji="0" lang="en-DE" sz="1600" b="1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1992A60-D588-F471-9A15-72639C907F1C}"/>
              </a:ext>
            </a:extLst>
          </p:cNvPr>
          <p:cNvSpPr txBox="1">
            <a:spLocks/>
          </p:cNvSpPr>
          <p:nvPr/>
        </p:nvSpPr>
        <p:spPr>
          <a:xfrm>
            <a:off x="8247290" y="1806530"/>
            <a:ext cx="336202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endParaRPr lang="en-DE" sz="18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51D5D72-7221-B57B-3791-7C1D0E92605B}"/>
              </a:ext>
            </a:extLst>
          </p:cNvPr>
          <p:cNvSpPr/>
          <p:nvPr/>
        </p:nvSpPr>
        <p:spPr bwMode="gray">
          <a:xfrm>
            <a:off x="8168610" y="1454032"/>
            <a:ext cx="3633694" cy="3931328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D796D91-D4F3-A21F-277D-8C5009AFBD06}"/>
              </a:ext>
            </a:extLst>
          </p:cNvPr>
          <p:cNvSpPr/>
          <p:nvPr/>
        </p:nvSpPr>
        <p:spPr bwMode="gray">
          <a:xfrm>
            <a:off x="8597818" y="1449452"/>
            <a:ext cx="2743200" cy="253726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+mn-lt"/>
                <a:ea typeface="Arial Unicode MS" pitchFamily="34" charset="-128"/>
                <a:cs typeface="Arial Unicode MS" pitchFamily="34" charset="-128"/>
              </a:rPr>
              <a:t>SALES</a:t>
            </a:r>
            <a:endParaRPr kumimoji="0" lang="en-DE" sz="1600" b="1" i="0" u="none" strike="noStrike" kern="0" cap="none" spc="0" normalizeH="0" baseline="0" noProof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69FF416D-D9BD-F4F4-39F7-786ABB45F126}"/>
              </a:ext>
            </a:extLst>
          </p:cNvPr>
          <p:cNvSpPr/>
          <p:nvPr/>
        </p:nvSpPr>
        <p:spPr bwMode="gray">
          <a:xfrm>
            <a:off x="8165956" y="5462262"/>
            <a:ext cx="3649174" cy="829063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56E8AED1-610B-9795-A57D-9AE36F8FE6FB}"/>
              </a:ext>
            </a:extLst>
          </p:cNvPr>
          <p:cNvSpPr>
            <a:spLocks/>
          </p:cNvSpPr>
          <p:nvPr/>
        </p:nvSpPr>
        <p:spPr bwMode="gray">
          <a:xfrm>
            <a:off x="8658760" y="5471042"/>
            <a:ext cx="2743200" cy="22930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600" b="1" kern="0">
                <a:solidFill>
                  <a:schemeClr val="bg2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CUSTOMER SUCCESS</a:t>
            </a:r>
            <a:endParaRPr lang="en-DE" sz="1600" b="1" kern="0">
              <a:solidFill>
                <a:schemeClr val="bg2">
                  <a:lumMod val="75000"/>
                </a:schemeClr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11" name="BOX_SALES">
            <a:extLst>
              <a:ext uri="{FF2B5EF4-FFF2-40B4-BE49-F238E27FC236}">
                <a16:creationId xmlns:a16="http://schemas.microsoft.com/office/drawing/2014/main" id="{C21E78F7-CB56-DA3A-6FF1-0C1A882A28C8}"/>
              </a:ext>
            </a:extLst>
          </p:cNvPr>
          <p:cNvGraphicFramePr>
            <a:graphicFrameLocks noGrp="1"/>
          </p:cNvGraphicFramePr>
          <p:nvPr/>
        </p:nvGraphicFramePr>
        <p:xfrm>
          <a:off x="8180976" y="1807904"/>
          <a:ext cx="3586955" cy="354290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50755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515390">
                  <a:extLst>
                    <a:ext uri="{9D8B030D-6E8A-4147-A177-3AD203B41FA5}">
                      <a16:colId xmlns:a16="http://schemas.microsoft.com/office/drawing/2014/main" val="3776688703"/>
                    </a:ext>
                  </a:extLst>
                </a:gridCol>
                <a:gridCol w="520810">
                  <a:extLst>
                    <a:ext uri="{9D8B030D-6E8A-4147-A177-3AD203B41FA5}">
                      <a16:colId xmlns:a16="http://schemas.microsoft.com/office/drawing/2014/main" val="1080254677"/>
                    </a:ext>
                  </a:extLst>
                </a:gridCol>
              </a:tblGrid>
              <a:tr h="20701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SP-24636  – C4C Integration in CDP Inbound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10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01.26</a:t>
                      </a:r>
                      <a:endParaRPr lang="en-US" sz="700" dirty="0"/>
                    </a:p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de-DE" sz="700" b="0" dirty="0"/>
                        <a:t> </a:t>
                      </a:r>
                      <a:endParaRPr lang="en-US" sz="700" b="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454575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SP-28344 - 360 SMC Contact Fact Sheet Replacement PoC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01.26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02.26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9468445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3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3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3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35745797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4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4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4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33320213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5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5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5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44692180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6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12819319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7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noProof="1">
                        <a:solidFill>
                          <a:srgbClr val="000000"/>
                        </a:solidFill>
                        <a:latin typeface="72 Brand"/>
                        <a:cs typeface="Arial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11730435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8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8}}</a:t>
                      </a:r>
                      <a:endParaRPr lang="en-US" sz="700" dirty="0"/>
                    </a:p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dirty="0"/>
                        <a:t>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8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53442737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9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latin typeface="+mn-lt"/>
                        <a:cs typeface="Arial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9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9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84447808"/>
                  </a:ext>
                </a:extLst>
              </a:tr>
              <a:tr h="211081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0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10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10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28779600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77566835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7554038"/>
                  </a:ext>
                </a:extLst>
              </a:tr>
            </a:tbl>
          </a:graphicData>
        </a:graphic>
      </p:graphicFrame>
      <p:sp>
        <p:nvSpPr>
          <p:cNvPr id="47" name="Rectangle 46">
            <a:extLst>
              <a:ext uri="{FF2B5EF4-FFF2-40B4-BE49-F238E27FC236}">
                <a16:creationId xmlns:a16="http://schemas.microsoft.com/office/drawing/2014/main" id="{320D6532-32D7-BE70-B01F-930F97BD974C}"/>
              </a:ext>
            </a:extLst>
          </p:cNvPr>
          <p:cNvSpPr/>
          <p:nvPr/>
        </p:nvSpPr>
        <p:spPr bwMode="gray">
          <a:xfrm>
            <a:off x="523810" y="5448626"/>
            <a:ext cx="3633694" cy="842699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ACDD3366-3187-AA82-1141-60F026AC0C25}"/>
              </a:ext>
            </a:extLst>
          </p:cNvPr>
          <p:cNvGraphicFramePr>
            <a:graphicFrameLocks noGrp="1"/>
          </p:cNvGraphicFramePr>
          <p:nvPr/>
        </p:nvGraphicFramePr>
        <p:xfrm>
          <a:off x="4302511" y="5305125"/>
          <a:ext cx="3649174" cy="1981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112968">
                  <a:extLst>
                    <a:ext uri="{9D8B030D-6E8A-4147-A177-3AD203B41FA5}">
                      <a16:colId xmlns:a16="http://schemas.microsoft.com/office/drawing/2014/main" val="552861658"/>
                    </a:ext>
                  </a:extLst>
                </a:gridCol>
                <a:gridCol w="536206">
                  <a:extLst>
                    <a:ext uri="{9D8B030D-6E8A-4147-A177-3AD203B41FA5}">
                      <a16:colId xmlns:a16="http://schemas.microsoft.com/office/drawing/2014/main" val="404933234"/>
                    </a:ext>
                  </a:extLst>
                </a:gridCol>
              </a:tblGrid>
              <a:tr h="169796">
                <a:tc>
                  <a:txBody>
                    <a:bodyPr/>
                    <a:lstStyle/>
                    <a:p>
                      <a:pPr marL="0" marR="0" lvl="0" indent="0" algn="l" defTabSz="913578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>
                        <a:solidFill>
                          <a:srgbClr val="000000"/>
                        </a:solidFill>
                        <a:latin typeface="+mn-lt"/>
                        <a:cs typeface="Segoe UI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77418871"/>
                  </a:ext>
                </a:extLst>
              </a:tr>
            </a:tbl>
          </a:graphicData>
        </a:graphic>
      </p:graphicFrame>
      <p:grpSp>
        <p:nvGrpSpPr>
          <p:cNvPr id="10" name="Gruppieren 47">
            <a:extLst>
              <a:ext uri="{FF2B5EF4-FFF2-40B4-BE49-F238E27FC236}">
                <a16:creationId xmlns:a16="http://schemas.microsoft.com/office/drawing/2014/main" id="{FD07D0ED-2E6D-DB12-95CA-6A95ED145164}"/>
              </a:ext>
            </a:extLst>
          </p:cNvPr>
          <p:cNvGrpSpPr/>
          <p:nvPr/>
        </p:nvGrpSpPr>
        <p:grpSpPr>
          <a:xfrm>
            <a:off x="5712518" y="1861111"/>
            <a:ext cx="1149233" cy="1107886"/>
            <a:chOff x="859244" y="1818358"/>
            <a:chExt cx="1149233" cy="1107886"/>
          </a:xfrm>
        </p:grpSpPr>
        <p:sp>
          <p:nvSpPr>
            <p:cNvPr id="14" name="Abgerundetes Rechteck 37">
              <a:extLst>
                <a:ext uri="{FF2B5EF4-FFF2-40B4-BE49-F238E27FC236}">
                  <a16:creationId xmlns:a16="http://schemas.microsoft.com/office/drawing/2014/main" id="{0C119FA6-84BD-2B14-44D2-963F62B0ADC2}"/>
                </a:ext>
              </a:extLst>
            </p:cNvPr>
            <p:cNvSpPr/>
            <p:nvPr/>
          </p:nvSpPr>
          <p:spPr bwMode="gray">
            <a:xfrm>
              <a:off x="859244" y="1818358"/>
              <a:ext cx="1149233" cy="1107886"/>
            </a:xfrm>
            <a:prstGeom prst="roundRect">
              <a:avLst>
                <a:gd name="adj" fmla="val 7793"/>
              </a:avLst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  <p:txBody>
            <a:bodyPr lIns="90000" tIns="72000" rIns="90000" bIns="72000" rtlCol="0" anchor="ctr"/>
            <a:lstStyle/>
            <a:p>
              <a:pPr marR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tabLst/>
              </a:pPr>
              <a:endParaRPr kumimoji="0" lang="de-DE" sz="1800" b="0" i="0" u="none" strike="noStrike" kern="0" cap="none" spc="0" normalizeH="0" baseline="0" noProof="1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24" name="Textfeld 38">
              <a:extLst>
                <a:ext uri="{FF2B5EF4-FFF2-40B4-BE49-F238E27FC236}">
                  <a16:creationId xmlns:a16="http://schemas.microsoft.com/office/drawing/2014/main" id="{20DA1062-66E2-2CD2-5FEF-B68F8BD9EAEC}"/>
                </a:ext>
              </a:extLst>
            </p:cNvPr>
            <p:cNvSpPr txBox="1"/>
            <p:nvPr/>
          </p:nvSpPr>
          <p:spPr>
            <a:xfrm>
              <a:off x="948936" y="1913154"/>
              <a:ext cx="1013098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 fontAlgn="base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de-DE" sz="1000" b="1" kern="0" noProof="1"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Business Adoption CDP</a:t>
              </a:r>
            </a:p>
          </p:txBody>
        </p:sp>
        <p:sp>
          <p:nvSpPr>
            <p:cNvPr id="38" name="Textfeld 39">
              <a:extLst>
                <a:ext uri="{FF2B5EF4-FFF2-40B4-BE49-F238E27FC236}">
                  <a16:creationId xmlns:a16="http://schemas.microsoft.com/office/drawing/2014/main" id="{1030E192-4908-4F55-A27F-56B3F7F829A5}"/>
                </a:ext>
              </a:extLst>
            </p:cNvPr>
            <p:cNvSpPr txBox="1"/>
            <p:nvPr/>
          </p:nvSpPr>
          <p:spPr>
            <a:xfrm>
              <a:off x="948936" y="2263356"/>
              <a:ext cx="442429" cy="3077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 fontAlgn="base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de-DE" sz="2000" kern="0" noProof="1">
                  <a:solidFill>
                    <a:srgbClr val="0070F2"/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5 </a:t>
              </a:r>
              <a:r>
                <a:rPr lang="de-DE" sz="1050" kern="0" noProof="1">
                  <a:solidFill>
                    <a:schemeClr val="bg1">
                      <a:lumMod val="65000"/>
                    </a:schemeClr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(</a:t>
              </a:r>
              <a:r>
                <a:rPr lang="de-DE" sz="1050" kern="0" noProof="1">
                  <a:solidFill>
                    <a:schemeClr val="accent3"/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+1</a:t>
              </a:r>
              <a:r>
                <a:rPr lang="de-DE" sz="1050" kern="0" noProof="1">
                  <a:solidFill>
                    <a:schemeClr val="bg1">
                      <a:lumMod val="65000"/>
                    </a:schemeClr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)</a:t>
              </a:r>
              <a:endParaRPr lang="de-DE" sz="2000" kern="0" noProof="1">
                <a:solidFill>
                  <a:schemeClr val="bg1">
                    <a:lumMod val="65000"/>
                  </a:schemeClr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40" name="Textfeld 40">
              <a:extLst>
                <a:ext uri="{FF2B5EF4-FFF2-40B4-BE49-F238E27FC236}">
                  <a16:creationId xmlns:a16="http://schemas.microsoft.com/office/drawing/2014/main" id="{99AD5A90-BEC6-3A18-29DC-D6D710A3EFE1}"/>
                </a:ext>
              </a:extLst>
            </p:cNvPr>
            <p:cNvSpPr txBox="1"/>
            <p:nvPr/>
          </p:nvSpPr>
          <p:spPr>
            <a:xfrm>
              <a:off x="948936" y="2709218"/>
              <a:ext cx="83837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 fontAlgn="base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de-DE" sz="1000" kern="0" noProof="1"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# of Use Cases</a:t>
              </a:r>
            </a:p>
          </p:txBody>
        </p:sp>
      </p:grpSp>
      <p:sp>
        <p:nvSpPr>
          <p:cNvPr id="44" name="TextBox 43">
            <a:extLst>
              <a:ext uri="{FF2B5EF4-FFF2-40B4-BE49-F238E27FC236}">
                <a16:creationId xmlns:a16="http://schemas.microsoft.com/office/drawing/2014/main" id="{69E91A3D-90CA-BBBB-0D22-F4BFD04D0A0D}"/>
              </a:ext>
            </a:extLst>
          </p:cNvPr>
          <p:cNvSpPr txBox="1"/>
          <p:nvPr/>
        </p:nvSpPr>
        <p:spPr>
          <a:xfrm>
            <a:off x="4288388" y="1286092"/>
            <a:ext cx="381211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16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dopted UC and split across </a:t>
            </a:r>
            <a:r>
              <a:rPr lang="en-US" sz="1600" b="1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LoBs</a:t>
            </a:r>
            <a:endParaRPr lang="en-DE" sz="1600" b="1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36" name="BOX_COMPLIANCE">
            <a:extLst>
              <a:ext uri="{FF2B5EF4-FFF2-40B4-BE49-F238E27FC236}">
                <a16:creationId xmlns:a16="http://schemas.microsoft.com/office/drawing/2014/main" id="{F2A7AFCA-C203-E04F-4B37-8B0C2B5B20FD}"/>
              </a:ext>
            </a:extLst>
          </p:cNvPr>
          <p:cNvGraphicFramePr>
            <a:graphicFrameLocks noGrp="1"/>
          </p:cNvGraphicFramePr>
          <p:nvPr/>
        </p:nvGraphicFramePr>
        <p:xfrm>
          <a:off x="503238" y="5799400"/>
          <a:ext cx="3608359" cy="6096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30914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520012">
                  <a:extLst>
                    <a:ext uri="{9D8B030D-6E8A-4147-A177-3AD203B41FA5}">
                      <a16:colId xmlns:a16="http://schemas.microsoft.com/office/drawing/2014/main" val="2891579348"/>
                    </a:ext>
                  </a:extLst>
                </a:gridCol>
                <a:gridCol w="557433">
                  <a:extLst>
                    <a:ext uri="{9D8B030D-6E8A-4147-A177-3AD203B41FA5}">
                      <a16:colId xmlns:a16="http://schemas.microsoft.com/office/drawing/2014/main" val="1301463886"/>
                    </a:ext>
                  </a:extLst>
                </a:gridCol>
              </a:tblGrid>
              <a:tr h="174712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SP-27120 - China CBDT- Long Term Compliance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02.26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02.26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3796178"/>
                  </a:ext>
                </a:extLst>
              </a:tr>
              <a:tr h="174712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OD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OA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2511762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0F67DBE4-9CBF-FEFF-84CF-833AD8E33CCC}"/>
              </a:ext>
            </a:extLst>
          </p:cNvPr>
          <p:cNvSpPr txBox="1"/>
          <p:nvPr/>
        </p:nvSpPr>
        <p:spPr>
          <a:xfrm>
            <a:off x="3103953" y="1707804"/>
            <a:ext cx="1150047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7EE9FCA-7F3F-D7B0-271C-A4AD692743D0}"/>
              </a:ext>
            </a:extLst>
          </p:cNvPr>
          <p:cNvSpPr txBox="1"/>
          <p:nvPr/>
        </p:nvSpPr>
        <p:spPr>
          <a:xfrm>
            <a:off x="3103583" y="5708420"/>
            <a:ext cx="1016697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BE1BE022-B831-E5E4-2646-7C5311FCF4AF}"/>
              </a:ext>
            </a:extLst>
          </p:cNvPr>
          <p:cNvSpPr txBox="1"/>
          <p:nvPr/>
        </p:nvSpPr>
        <p:spPr>
          <a:xfrm>
            <a:off x="10785693" y="1707804"/>
            <a:ext cx="1802296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graphicFrame>
        <p:nvGraphicFramePr>
          <p:cNvPr id="53" name="BOX_CUSTOMER_SUCCESS">
            <a:extLst>
              <a:ext uri="{FF2B5EF4-FFF2-40B4-BE49-F238E27FC236}">
                <a16:creationId xmlns:a16="http://schemas.microsoft.com/office/drawing/2014/main" id="{6EC3B42E-E75A-3A1D-F499-13F94EA65CE8}"/>
              </a:ext>
            </a:extLst>
          </p:cNvPr>
          <p:cNvGraphicFramePr>
            <a:graphicFrameLocks noGrp="1"/>
          </p:cNvGraphicFramePr>
          <p:nvPr/>
        </p:nvGraphicFramePr>
        <p:xfrm>
          <a:off x="8148439" y="5853913"/>
          <a:ext cx="3661179" cy="3048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638936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486604">
                  <a:extLst>
                    <a:ext uri="{9D8B030D-6E8A-4147-A177-3AD203B41FA5}">
                      <a16:colId xmlns:a16="http://schemas.microsoft.com/office/drawing/2014/main" val="3776688703"/>
                    </a:ext>
                  </a:extLst>
                </a:gridCol>
                <a:gridCol w="535639">
                  <a:extLst>
                    <a:ext uri="{9D8B030D-6E8A-4147-A177-3AD203B41FA5}">
                      <a16:colId xmlns:a16="http://schemas.microsoft.com/office/drawing/2014/main" val="108025467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3578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ustomer Success USE CASE Title 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U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UA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454575"/>
                  </a:ext>
                </a:extLst>
              </a:tr>
            </a:tbl>
          </a:graphicData>
        </a:graphic>
      </p:graphicFrame>
      <p:sp>
        <p:nvSpPr>
          <p:cNvPr id="54" name="TextBox 53">
            <a:extLst>
              <a:ext uri="{FF2B5EF4-FFF2-40B4-BE49-F238E27FC236}">
                <a16:creationId xmlns:a16="http://schemas.microsoft.com/office/drawing/2014/main" id="{9A22D1B1-B8F2-D837-DA9F-5307898858B4}"/>
              </a:ext>
            </a:extLst>
          </p:cNvPr>
          <p:cNvSpPr txBox="1"/>
          <p:nvPr/>
        </p:nvSpPr>
        <p:spPr>
          <a:xfrm>
            <a:off x="10806429" y="5766865"/>
            <a:ext cx="961501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7B54F62E-E796-A1C4-C854-76A20C3909C9}"/>
              </a:ext>
            </a:extLst>
          </p:cNvPr>
          <p:cNvGraphicFramePr/>
          <p:nvPr/>
        </p:nvGraphicFramePr>
        <p:xfrm>
          <a:off x="4820400" y="4106492"/>
          <a:ext cx="2573216" cy="21848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57C53294-7C77-F68E-9F05-FC126D4691B2}"/>
              </a:ext>
            </a:extLst>
          </p:cNvPr>
          <p:cNvSpPr/>
          <p:nvPr/>
        </p:nvSpPr>
        <p:spPr bwMode="gray">
          <a:xfrm>
            <a:off x="6408429" y="3821591"/>
            <a:ext cx="1097280" cy="36933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+mn-lt"/>
                <a:ea typeface="Arial Unicode MS" pitchFamily="34" charset="-128"/>
                <a:cs typeface="Arial Unicode MS" pitchFamily="34" charset="-128"/>
              </a:rPr>
              <a:t>ADOPTED</a:t>
            </a:r>
            <a:endParaRPr kumimoji="0" lang="en-DE" sz="1000" b="1" i="0" u="none" strike="noStrike" kern="0" cap="none" spc="0" normalizeH="0" baseline="0" noProof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A46654CB-8B4D-B2C4-5516-2DA55EF74588}"/>
              </a:ext>
            </a:extLst>
          </p:cNvPr>
          <p:cNvSpPr/>
          <p:nvPr/>
        </p:nvSpPr>
        <p:spPr bwMode="gray">
          <a:xfrm>
            <a:off x="4396926" y="4022885"/>
            <a:ext cx="1097280" cy="36933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lang="de-DE" sz="1000" b="1" ker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F</a:t>
            </a:r>
            <a:r>
              <a:rPr lang="en-US" sz="1000" b="1" ker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ORECASTED USE CASES</a:t>
            </a:r>
            <a:endParaRPr kumimoji="0" lang="en-DE" sz="1000" b="1" i="0" u="none" strike="noStrike" kern="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5D3A3200-4CF1-1AE0-FB38-8F09330B7E03}"/>
              </a:ext>
            </a:extLst>
          </p:cNvPr>
          <p:cNvSpPr/>
          <p:nvPr/>
        </p:nvSpPr>
        <p:spPr bwMode="gray">
          <a:xfrm>
            <a:off x="6811336" y="5888635"/>
            <a:ext cx="1097280" cy="36933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lang="de-DE" sz="1000" b="1" kern="0">
                <a:solidFill>
                  <a:schemeClr val="bg1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ADOPTION</a:t>
            </a:r>
            <a:br>
              <a:rPr lang="de-DE" sz="1000" b="1" kern="0">
                <a:solidFill>
                  <a:schemeClr val="bg1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</a:br>
            <a:r>
              <a:rPr lang="de-DE" sz="1000" b="1" kern="0">
                <a:solidFill>
                  <a:schemeClr val="bg1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SCHEDULED</a:t>
            </a:r>
            <a:endParaRPr kumimoji="0" lang="en-DE" sz="1000" b="1" i="0" u="none" strike="noStrike" kern="0" cap="none" spc="0" normalizeH="0" baseline="0" noProof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C98C732F-1085-AF18-A648-A910D4228D3E}"/>
              </a:ext>
            </a:extLst>
          </p:cNvPr>
          <p:cNvSpPr>
            <a:spLocks/>
          </p:cNvSpPr>
          <p:nvPr/>
        </p:nvSpPr>
        <p:spPr bwMode="gray">
          <a:xfrm>
            <a:off x="950606" y="5450042"/>
            <a:ext cx="2743200" cy="240873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lang="en-US" sz="1600" b="1" kern="0">
                <a:solidFill>
                  <a:schemeClr val="tx2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COMPLIANCE</a:t>
            </a:r>
            <a:endParaRPr kumimoji="0" lang="en-DE" sz="1600" b="1" i="0" u="none" strike="noStrike" kern="0" cap="none" spc="0" normalizeH="0" baseline="0" noProof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15" name="BOX_MARKETING">
            <a:extLst>
              <a:ext uri="{FF2B5EF4-FFF2-40B4-BE49-F238E27FC236}">
                <a16:creationId xmlns:a16="http://schemas.microsoft.com/office/drawing/2014/main" id="{303EF505-49D3-B2EC-0731-684336D010A9}"/>
              </a:ext>
            </a:extLst>
          </p:cNvPr>
          <p:cNvGraphicFramePr>
            <a:graphicFrameLocks noGrp="1"/>
          </p:cNvGraphicFramePr>
          <p:nvPr/>
        </p:nvGraphicFramePr>
        <p:xfrm>
          <a:off x="553081" y="1807904"/>
          <a:ext cx="3578027" cy="334923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433473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572277">
                  <a:extLst>
                    <a:ext uri="{9D8B030D-6E8A-4147-A177-3AD203B41FA5}">
                      <a16:colId xmlns:a16="http://schemas.microsoft.com/office/drawing/2014/main" val="3776688703"/>
                    </a:ext>
                  </a:extLst>
                </a:gridCol>
                <a:gridCol w="572277">
                  <a:extLst>
                    <a:ext uri="{9D8B030D-6E8A-4147-A177-3AD203B41FA5}">
                      <a16:colId xmlns:a16="http://schemas.microsoft.com/office/drawing/2014/main" val="4047630861"/>
                    </a:ext>
                  </a:extLst>
                </a:gridCol>
              </a:tblGrid>
              <a:tr h="206269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ITDYM-4319 – CDP MVP | RISE Program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sz="700"/>
                        <a:t>   </a:t>
                      </a:r>
                      <a:r>
                        <a:rPr b="1" sz="700">
                          <a:solidFill>
                            <a:srgbClr val="000000"/>
                          </a:solidFill>
                        </a:rPr>
                        <a:t>06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01.26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454575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DP Harmonized Data Product for Gainsight platform consumption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sz="700"/>
                        <a:t>   </a:t>
                      </a:r>
                      <a:r>
                        <a:rPr b="1" sz="700">
                          <a:solidFill>
                            <a:srgbClr val="000000"/>
                          </a:solidFill>
                        </a:rPr>
                        <a:t>06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01.26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8222422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ITDYM-4319 – CDP MVP | RISE Program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sz="700"/>
                        <a:t>   </a:t>
                      </a:r>
                      <a:r>
                        <a:rPr b="1" sz="700">
                          <a:solidFill>
                            <a:srgbClr val="000000"/>
                          </a:solidFill>
                        </a:rPr>
                        <a:t>06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01.01.20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836275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 Title 4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{{MD4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4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75724157"/>
                  </a:ext>
                </a:extLst>
              </a:tr>
              <a:tr h="330600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5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5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5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7835029"/>
                  </a:ext>
                </a:extLst>
              </a:tr>
              <a:tr h="422722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6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5270968"/>
                  </a:ext>
                </a:extLst>
              </a:tr>
              <a:tr h="532317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7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7829647"/>
                  </a:ext>
                </a:extLst>
              </a:tr>
              <a:tr h="313127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8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8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8}}</a:t>
                      </a:r>
                      <a:endParaRPr lang="en-US" sz="700" dirty="0"/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34038"/>
                  </a:ext>
                </a:extLst>
              </a:tr>
              <a:tr h="313127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9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9}}</a:t>
                      </a:r>
                      <a:endParaRPr lang="en-US" sz="700" dirty="0"/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9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51236838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0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10}}</a:t>
                      </a:r>
                      <a:r>
                        <a:rPr lang="en-US" sz="700" dirty="0"/>
                        <a:t>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10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3810409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4926700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44857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493943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AEF21C-8463-F8CD-7080-6CC7EB5442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A4F6A6E-1008-5D1D-A520-A886C21CA2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A4F6A6E-1008-5D1D-A520-A886C21CA2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3956A29B-67BC-05D7-6A42-24BF6E6936ED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4E19D924-63F5-3291-94D6-9D11C38B5B77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F78E84D7-A96F-AC98-53BE-4601AA23DB5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FD6E91E9-41FB-9D54-9FB8-707BDD43FAC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4F6A3024-25FB-B334-75D4-681E1F1F864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94321E5C-39C1-8F2F-50E2-75794D4C71B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2091D387-FE7A-CCF7-73A3-DEF25780118D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C2FE0FFB-7BAD-65B3-E2AD-BC87BFED929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76AB0F08-F456-7B27-896C-7D842D5CC19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05062DC8-F015-B43C-AB2B-64F185885103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AEC6CF3D-94A3-2EA1-8485-61721CB4083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359B399D-E50E-38C6-C95E-F9A41A415D4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2FE7326A-D79E-1549-A027-C2109670902A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8C24EB52-2D2F-01FF-277F-FC371967CFB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56DD0F2F-26CF-9287-9CBD-7D2CE8D3F8A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61EEEF0A-B1A0-1005-FE5E-0B3ADE9E42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0027988"/>
              </p:ext>
            </p:extLst>
          </p:nvPr>
        </p:nvGraphicFramePr>
        <p:xfrm>
          <a:off x="474631" y="2071726"/>
          <a:ext cx="11215722" cy="250976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ITDYM-4319 – CDP MVP | RISE Program</a:t>
                      </a:r>
                      <a:r>
                        <a:rPr sz="700"/>
                        <a:t>
</a:t>
                      </a:r>
                      <a:r>
                        <a:rPr sz="700">
                          <a:solidFill>
                            <a:srgbClr val="000000"/>
                          </a:solidFill>
                        </a:rPr>
                        <a:t>Nitin Singh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sz="700">
                          <a:solidFill>
                            <a:srgbClr val="000000"/>
                          </a:solidFill>
                        </a:rPr>
                        <a:t>Features closed (CDP | Drop-down menu with values), done 
Data into the new behavioral Data Schema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6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TBC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DP Harmonized Data Product for Gainsight platform consumption</a:t>
                      </a:r>
                      <a:r>
                        <a:rPr sz="700"/>
                        <a:t>
</a:t>
                      </a:r>
                      <a:r>
                        <a:rPr sz="700">
                          <a:solidFill>
                            <a:srgbClr val="000000"/>
                          </a:solidFill>
                        </a:rPr>
                        <a:t>Max Mustermann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sz="700">
                          <a:solidFill>
                            <a:srgbClr val="000000"/>
                          </a:solidFill>
                        </a:rPr>
                        <a:t>This status upadet is for testing reason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6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TBC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95%</a:t>
                      </a:r>
                      <a:endParaRPr kumimoji="0"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ITDYM-4319 – CDP MVP | RISE Program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sz="700">
                          <a:solidFill>
                            <a:srgbClr val="000000"/>
                          </a:solidFill>
                        </a:rPr>
                        <a:t>Nitin Singh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sz="700">
                          <a:solidFill>
                            <a:srgbClr val="000000"/>
                          </a:solidFill>
                        </a:rPr>
                        <a:t>30.11.2025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Q1 20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85</a:t>
                      </a: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endParaRPr kumimoji="0" lang="en-US" sz="2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9354723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4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4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Q1 20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85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endParaRPr kumimoji="0" lang="en-US" sz="2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6260404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37291DE0-3B17-64EF-694D-7BFEA09BABB8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1F4EC1C-414B-E9A6-8EB6-817DFE3DB79C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C4B37FAD-4592-473C-B41C-EB7073C1E539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5EBB617-2F84-08F2-ABBD-D6E250AA9E24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85942F8C-DB2D-94AE-B9A6-17438C3784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Marketing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7EDB797-7FC3-A727-D6B5-B7838CCB443C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AD891B9-1637-7AE6-2B8D-CA9ECFAC6F3F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B824D3E-A3CD-A006-1BB1-BC8AF71FA45B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9E37715-8B17-EC38-8193-928F68916075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BC9CC5D-7E11-5D77-2D7E-7A2630BFF958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7986B34-1F17-9D22-9F67-D80BC6C3D647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47591E6-B889-DEE4-FAFA-DCC6E9F98265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F6572FF-04A1-9363-C43D-2AC57946F5F6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ADD610E-BCED-41FB-D235-61CDD8453D1F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C3E2653-33C8-7AF5-82DF-03E1D02080E5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B09599B8-4A6A-3C7D-197E-D61EF90DC015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74BD2FCA-0AE3-2E6B-DCB4-C71C814A8CBA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69859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86342C-A0B4-C2E7-A9F5-5A8EB5DD41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CCDC286-2443-05A2-C361-F93A0F4D32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A4F6A6E-1008-5D1D-A520-A886C21CA2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8E50EA6B-0B29-28AA-2B8E-071BB0D68E86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30FD4A99-9AD2-B472-9EB4-E9AE145B0B59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199FD094-895B-59E5-9B76-780736E615C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D0615320-02D0-9BEF-C7BE-DE5E2900677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952F0F24-5D25-6F13-53C6-8C3A7616E8A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E13F69A6-71BB-B628-67BE-787757A90A8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2E80470B-E50D-A2B2-8194-9E5050B7A237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726ED335-0B0A-F7D9-15FD-F45048454E5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04B12264-664D-D515-77E0-C72E1CF1667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87C0D4B4-0B64-3F8D-1C01-30B4EC525292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A54CB3C6-4CAD-BBA0-34F5-27FDDA733C2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2C38AF4A-4B8B-2677-B8EF-71E87296071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993FC751-AE96-F1B1-121E-9D4C36D6D5B9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8863C1A7-5DE4-4C9D-EEBB-53F3246BE8E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CC186444-C743-B7A0-A84F-EE1CB1CA773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E18829CF-3146-56FB-3085-331A90D2BB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0063121"/>
              </p:ext>
            </p:extLst>
          </p:nvPr>
        </p:nvGraphicFramePr>
        <p:xfrm>
          <a:off x="474631" y="2071726"/>
          <a:ext cx="11215722" cy="250976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5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5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6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TBC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6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6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6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TBC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95%</a:t>
                      </a:r>
                      <a:endParaRPr kumimoji="0"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7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7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Q1 20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85</a:t>
                      </a: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endParaRPr kumimoji="0" lang="en-US" sz="2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9354723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8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8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Q1 20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85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endParaRPr kumimoji="0" lang="en-US" sz="2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6260404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5871EC61-AFCF-CD04-AFDB-89DD2A7A8720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7D5E9423-BB5D-B0B3-6C15-C6B325AB3DD0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EE3AF074-FFD9-0C27-F8F5-603B2421BAAF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D27E7E7-A33E-C450-361B-F924849617E8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646D16C5-DFCF-956B-515F-B3C0A8D284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Marketing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1A549C5-6E42-1845-5713-6961BF0780BE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78F965F-B863-5222-25EF-B87DF4DBA240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AE5D2D2-CB0E-842D-16CE-127C21D9265D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702B0D9-1FAE-6E6F-DE80-A92DE8619309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2B53D44-439E-71DA-3298-B97DAEDF9470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417FAD7-31AC-3F9E-00F6-87A5C6B1DC52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F59659E-B8BD-E01B-A240-C154C65905F4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5322F2D-5BFC-12B5-B978-F03B8AAF32D6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42832CF-F615-15C8-6832-1E43429A4500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A72C989-DBDA-1707-D5E5-62B131847A97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46A8C079-3411-8154-E0E4-D3E18D59EC21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438FAEE5-A650-DB8F-6747-9D121E958312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43330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F72333-6357-B0A0-B3A1-FBDD5BB329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7724433-6945-3159-00E7-D7A96B5357B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7724433-6945-3159-00E7-D7A96B5357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6FD1B77E-862E-42C7-75B0-FFA7D2C15389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429C950D-0690-7067-7E24-041EB31CC45D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B7966AA8-C342-F97A-0185-ADB705FA57D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277CAD65-1DB4-4E6F-596F-6D4B35D2A38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76AEE900-A837-2658-634C-FF064EE5780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76FD9BF1-5F37-1551-4E64-A7A65D68118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8A871FCA-EB93-42FB-5EB2-988BA5142861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B06EF6D6-4896-B9D4-A405-86D202C3E4E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D80E77CF-C03C-3014-A0C5-5EE975F5AF0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5B303064-1ED5-4C7B-5CE6-CA1B4559E796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41C8D23A-B055-F099-DBB8-8C3B60E703C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078D4006-F6F6-C15C-C418-4372B41BE8E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9ED002D1-09A5-8A7F-2A0C-96B1C40B78B8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13A474BC-3184-8848-CE43-0690A5CB782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A5F49752-36DE-1039-A449-5CBCC8EBCCA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6D2E4698-2E15-95BD-E158-3854D2D8A6C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578824"/>
              </p:ext>
            </p:extLst>
          </p:nvPr>
        </p:nvGraphicFramePr>
        <p:xfrm>
          <a:off x="474631" y="2071726"/>
          <a:ext cx="11215722" cy="2344603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SP-24636  – C4C Integration in CDP Inbound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sz="700">
                          <a:solidFill>
                            <a:srgbClr val="000000"/>
                          </a:solidFill>
                        </a:rPr>
                        <a:t>Krishna Angurala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sz="700">
                          <a:solidFill>
                            <a:srgbClr val="000000"/>
                          </a:solidFill>
                        </a:rPr>
                        <a:t>Implemented fix for mandatory job title and C4C guide mapping
NGCS E2E testing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0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60%</a:t>
                      </a:r>
                      <a:endParaRPr kumimoji="0"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SP-28344 - 360 SMC Contact Fact Sheet Replacement PoC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sz="700">
                          <a:solidFill>
                            <a:srgbClr val="000000"/>
                          </a:solidFill>
                        </a:rPr>
                        <a:t>Carol Marchesy, Nitin Singil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sz="700">
                          <a:solidFill>
                            <a:srgbClr val="000000"/>
                          </a:solidFill>
                        </a:rPr>
                        <a:t>Started in Sprint 4 (Oct 20), collect requirements, then check feasibility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50%</a:t>
                      </a:r>
                      <a:endParaRPr kumimoji="0" lang="en-US" sz="2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9354723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3}}</a:t>
                      </a:r>
                      <a:br>
                        <a:rPr lang="en-US" sz="700" b="1" kern="0" dirty="0">
                          <a:solidFill>
                            <a:srgbClr val="000000"/>
                          </a:solidFill>
                          <a:latin typeface="+mn-lt"/>
                          <a:cs typeface="Arial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3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10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10/25</a:t>
                      </a:r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de-DE" sz="1000">
                          <a:solidFill>
                            <a:schemeClr val="accent3"/>
                          </a:solidFill>
                        </a:rPr>
                        <a:t>100%</a:t>
                      </a:r>
                      <a:endParaRPr kumimoji="0" lang="en-US" sz="1000">
                        <a:solidFill>
                          <a:schemeClr val="accent3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6260404"/>
                  </a:ext>
                </a:extLst>
              </a:tr>
              <a:tr h="12635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4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kern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</a:t>
                      </a: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StatusupdateUC4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9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09/25</a:t>
                      </a:r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de-DE" sz="1000" dirty="0"/>
                        <a:t>80%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29573239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9450F0E8-AD20-1977-4A38-C7ECC1706DD4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3ECBC078-866D-4F90-1FA5-95B349596B47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4907FB0B-A1D4-2269-580E-0960A6369CD7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0854270-4B3B-CD00-C8A1-7EE2E6BAB027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C37FC5D7-9ABF-5A05-8829-1AC0394EC5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Sales &amp; Post Sales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ED88C5-BB7D-E97E-22A4-EE58B83400B2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F724750-C28A-B36C-148F-AF4810C69801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10BB4BE-D0DD-706F-26BA-D8A710CD15E8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F2711C2-B185-735E-D8EC-CDA8D137ACC2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F830A26-9FAF-A3FA-2DA9-001707F82EF1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F9A3BB0-6185-030F-BC58-E6FA0476867F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ABC4668-C1C9-B44C-EC72-76145C87F160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61DF00A-253A-AC8F-6848-A4FCAC50DDAB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020C7E8-1662-CC42-7ED3-B6D552838D54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57A7C6D-DF53-E787-134B-B12A79A966E8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8D227AF6-8EDC-DD56-DDEB-4123FACDD882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099DFDFE-2A34-7FBF-8134-BF96ED6F6C8D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35260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491C69-B3F9-4675-BE68-25486269CF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1B019D-1D21-D0D6-1396-16C6E5DB7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1B019D-1D21-D0D6-1396-16C6E5DB7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FE982250-5189-4FF9-B868-E930AB863E9B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BFD4EDCC-1766-5D36-DBCF-903CEBFD9A60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34D2EAE0-773F-3675-03B0-2538085C5CE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0D6F35DE-2C37-A6EF-D09C-89053BC89FD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E4F2543C-E153-ED76-D088-45B1EE7CD74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D56F5F30-9F87-3104-9CDD-613B5051685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AD8654F0-DA2B-B726-CF97-77B6203FF7CB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FC488EB5-37A1-AA84-B5AC-08C07C3D37C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01F9E319-BA01-D6A1-6259-5039526E8FE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06A1C4A1-665B-E7BA-E1E6-B11D210C040D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F90E3451-24B2-BD2B-13B0-264E31FCDE1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29EC91CE-C4EC-374A-1C07-7C09E72DA82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17CBA00F-7761-6B24-7AF8-6B884DA86C70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9653DE4B-DCB8-54DA-680F-7A05F8D617C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3DEEED2D-5188-4F63-5CD6-B6185E7459B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E42CCF30-2D67-DA7B-0D37-FB3B6D8D44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2082314"/>
              </p:ext>
            </p:extLst>
          </p:nvPr>
        </p:nvGraphicFramePr>
        <p:xfrm>
          <a:off x="474631" y="2071726"/>
          <a:ext cx="11215722" cy="250976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5}}</a:t>
                      </a:r>
                      <a:br>
                        <a:rPr kumimoji="0" lang="de-DE" sz="700" b="1" i="0" u="none" strike="noStrike" kern="0" cap="none" spc="0" normalizeH="0" baseline="3000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Noto Music"/>
                          <a:cs typeface="Arial Unicode M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5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6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>
                          <a:solidFill>
                            <a:schemeClr val="tx1"/>
                          </a:solidFill>
                          <a:latin typeface="+mn-lt"/>
                        </a:rPr>
                        <a:t>{{StatusupdateUC6Sales</a:t>
                      </a: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90%</a:t>
                      </a:r>
                      <a:endParaRPr kumimoji="0"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7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7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60%</a:t>
                      </a:r>
                      <a:endParaRPr lang="en-US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2685638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8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8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7383345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BF609DC3-38E4-5689-63F7-B24EC801A2FA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D7EBD627-9310-3F59-653C-056878D62108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A79E7A8F-42B8-5B6F-0169-E3E0DED5F687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D496635-72F6-0F08-C2E5-EA6E51E15A76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5EE35245-E3C9-908F-F93C-7ED40C0509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Sales &amp; Post Sales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5CD002-6DE2-B6BF-D47F-064922AE20DB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</a:t>
            </a: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p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87640F0-F8F6-A58D-E61C-139484487C06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88DF8A3-2110-DD61-8EA0-51595C247AE4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</a:t>
            </a: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inalized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3519B6E-623B-7E0C-8590-1D253A5F2B51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BD9AA82-5259-249C-8862-34D492530DA3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448C6F5-3A1B-26E0-DBE4-DBBCF96655E9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2851766-E952-37FC-D9E9-9DCF178B26E6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D25BF97-BA56-6328-E38B-5C5A4FFAEB97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81E394E-54DC-1E2A-FFD7-C54E2A372F6A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4E05B7E-B6F4-D15D-4428-F7424BE1BD40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4D0EE15F-8A68-B6E5-D248-C2FC4E7581D4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3DF04DA8-85EB-BBE8-C10A-977D0CC99283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79377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B48746-7D9A-8225-7F4A-ACF3BC6A1A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29A6A4-EC3D-AA9C-EFA2-C175334063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29A6A4-EC3D-AA9C-EFA2-C175334063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E0BF856C-1AB9-CDA7-B31E-E48EEBF861AE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05E96B47-B32D-1CFA-C7D4-797E92CE138D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9D14323C-E61B-CEA3-3379-50DD111D870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442EA592-918C-9D77-7E9F-05ED56A9266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89DCE98A-5993-1489-7286-DDF9174E860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8B48997E-046B-19D8-5F21-36AC8ABF508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F81649D4-0F0F-D596-264C-31C0955988EB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3BB05BEF-1F3F-98D3-6101-AD0D3896FE8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54A894F7-D469-54A5-DED6-D68700ACDE9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DDF8CBC5-7F27-AB7E-6F50-873523540EC2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75354380-9D91-5F8E-EC2F-BABB0CBEC8A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9A0E74FE-8E0A-0E75-000B-FF482E44739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DE3B4A9D-4EB0-7C6C-4A69-27A96277FC76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E75F8D5F-D135-00B2-B8D6-ADB0E82D9CB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319721E4-9C9B-570F-DB42-37D99A9B4FC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F046F7DF-F13F-1009-2235-6DE3793ED5A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2082344"/>
              </p:ext>
            </p:extLst>
          </p:nvPr>
        </p:nvGraphicFramePr>
        <p:xfrm>
          <a:off x="474631" y="2071726"/>
          <a:ext cx="11215722" cy="250976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SP-27120 - China CBDT- Long Term Compliance</a:t>
                      </a:r>
                      <a:r>
                        <a:rPr sz="700"/>
                        <a:t>
</a:t>
                      </a:r>
                      <a:r>
                        <a:rPr sz="700">
                          <a:solidFill>
                            <a:srgbClr val="000000"/>
                          </a:solidFill>
                        </a:rPr>
                        <a:t>Tristan Raver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sz="700">
                          <a:solidFill>
                            <a:srgbClr val="000000"/>
                          </a:solidFill>
                        </a:rPr>
                        <a:t>this is the latest status update for test purpose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8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9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de-DE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00%</a:t>
                      </a:r>
                      <a:endParaRPr kumimoji="0" lang="en-US" sz="10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2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Compliance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2Compliance}}</a:t>
                      </a:r>
                    </a:p>
                    <a:p>
                      <a:pPr marL="171450" lvl="0" indent="-171450" algn="just" defTabSz="1088558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Font typeface="Wingdings"/>
                        <a:buChar char="§"/>
                        <a:tabLst/>
                        <a:defRPr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>
                      <a:noFill/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108747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de-DE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de-DE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de-DE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0">
                      <a:noFill/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9966447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3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Compliance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3Compliance}}</a:t>
                      </a:r>
                    </a:p>
                    <a:p>
                      <a:pPr marL="171450" lvl="0" indent="-171450" algn="just" defTabSz="1088558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Font typeface="Wingdings"/>
                        <a:buChar char="§"/>
                        <a:tabLst/>
                        <a:defRPr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>
                      <a:noFill/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108747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de-DE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de-DE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de-DE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0">
                      <a:noFill/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6487168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4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Compliance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4Compliance}}</a:t>
                      </a:r>
                    </a:p>
                    <a:p>
                      <a:pPr marL="171450" lvl="0" indent="-171450" algn="just" defTabSz="1088558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Font typeface="Wingdings"/>
                        <a:buChar char="§"/>
                        <a:tabLst/>
                        <a:defRPr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>
                      <a:noFill/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108747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de-DE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de-DE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de-DE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0">
                      <a:noFill/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9788427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045F789F-1F63-8E94-AF6F-8D70AF146CDD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12D5D20C-EFD6-7C7B-07D7-DD9565355793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002A1BA9-C0B1-BB9B-21F5-6A1FAEA63642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7E88AC9-AD94-88B2-D481-51E5FF112DC5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BEFAEA6F-268F-88CF-717E-0023C04EF6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Compliance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3BC5D7-3FA5-C2F9-AF8C-763AF42339AC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9051E18-7391-4564-AFA5-8999AFC7DE6B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A39FBE0-9F7D-F72A-4E8D-2CF563AB4553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001F466-1007-090F-8C77-896AE29A21AC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56A9935-8CBC-EE20-A246-37373BC5E7D7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83F0AED-38A6-81E1-5A1B-900EAC2A46CB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DE69850-D601-EA48-9EF9-723B51C64105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AACEC3F-7814-6564-BCA2-5386202D29E0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5EE6DE0-5509-E24C-7AB1-2BDB849F5A8B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2E167CA-BCF3-5261-5DFA-325B0590845C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A8AB949A-5031-BFA7-08FD-48EC10B71B1B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20" name="dritter_kreis">
            <a:extLst>
              <a:ext uri="{FF2B5EF4-FFF2-40B4-BE49-F238E27FC236}">
                <a16:creationId xmlns:a16="http://schemas.microsoft.com/office/drawing/2014/main" id="{908AA9CA-F2E0-7402-2476-5DBE2A44E181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89501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266D6E-D17A-B985-63C3-31176C9EEB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219152D-379D-BC83-7FCE-D2E850F219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219152D-379D-BC83-7FCE-D2E850F219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22102EE5-801C-C299-0DAE-70E834F7E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de-DE" noProof="1">
                <a:solidFill>
                  <a:srgbClr val="002A86"/>
                </a:solidFill>
              </a:rPr>
              <a:t>2. CDP Foundational Use Cases | </a:t>
            </a:r>
            <a:r>
              <a:rPr lang="de-DE" noProof="1"/>
              <a:t>Status Update (1/2)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A738AAED-E924-44A7-A636-F362825315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0544121"/>
              </p:ext>
            </p:extLst>
          </p:nvPr>
        </p:nvGraphicFramePr>
        <p:xfrm>
          <a:off x="504001" y="2036224"/>
          <a:ext cx="11242624" cy="2792070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95102">
                  <a:extLst>
                    <a:ext uri="{9D8B030D-6E8A-4147-A177-3AD203B41FA5}">
                      <a16:colId xmlns:a16="http://schemas.microsoft.com/office/drawing/2014/main" val="2604398794"/>
                    </a:ext>
                  </a:extLst>
                </a:gridCol>
                <a:gridCol w="2176807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951040">
                  <a:extLst>
                    <a:ext uri="{9D8B030D-6E8A-4147-A177-3AD203B41FA5}">
                      <a16:colId xmlns:a16="http://schemas.microsoft.com/office/drawing/2014/main" val="1607541072"/>
                    </a:ext>
                  </a:extLst>
                </a:gridCol>
                <a:gridCol w="819675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399351">
                <a:tc>
                  <a:txBody>
                    <a:bodyPr/>
                    <a:lstStyle/>
                    <a:p>
                      <a:pPr algn="ctr"/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#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Use Case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Overall Status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Statu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0485751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1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SP-27065 - [PoC] Move classification Logic to CDP</a:t>
                      </a:r>
                      <a:r>
                        <a:rPr sz="700"/>
                        <a:t>
</a:t>
                      </a:r>
                      <a:r>
                        <a:rPr sz="700">
                          <a:solidFill>
                            <a:srgbClr val="000000"/>
                          </a:solidFill>
                        </a:rPr>
                        <a:t>Semal Korzan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sz="700">
                          <a:solidFill>
                            <a:srgbClr val="000000"/>
                          </a:solidFill>
                        </a:rPr>
                        <a:t>contingent on development of CCRMS (Country Compliance Rules Management System)
Call with Data Protection team necessary to refine requirements and timeline – took place
Data Protection team implementing CCRMS system in progress, Integration of CDC started in parallel by EDT
Carol: contact schema for storing consent data from CDC (alignments in progress, Carol to check what they need from us)
Implementation of CDC – CDP integration completed. Next step: E2E testing in sprint 4, invite will follow
Carol to provide fields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411678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de-DE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2</a:t>
                      </a:r>
                      <a:endParaRPr lang="en-US" sz="7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 Unicode MS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DP Harmonized Data Product for Gainsight platform consumption</a:t>
                      </a:r>
                      <a:r>
                        <a:rPr sz="700"/>
                        <a:t>
</a:t>
                      </a:r>
                      <a:r>
                        <a:rPr sz="700">
                          <a:solidFill>
                            <a:srgbClr val="000000"/>
                          </a:solidFill>
                        </a:rPr>
                        <a:t>Pat Sep</a:t>
                      </a:r>
                      <a:endParaRPr lang="en-US" sz="700" b="1" dirty="0">
                        <a:latin typeface="+mn-lt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sz="700">
                          <a:solidFill>
                            <a:srgbClr val="000000"/>
                          </a:solidFill>
                        </a:rPr>
                        <a:t>overalll status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DE" sz="800">
                        <a:highlight>
                          <a:srgbClr val="FFFF00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934585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3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Contact Interest Intelligence (CII) Integration in CDP - PoC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sz="700">
                          <a:solidFill>
                            <a:srgbClr val="000000"/>
                          </a:solidFill>
                        </a:rPr>
                        <a:t>UC Owner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sz="700">
                          <a:solidFill>
                            <a:srgbClr val="000000"/>
                          </a:solidFill>
                        </a:rPr>
                        <a:t>In analysis (checking req. and acceptance criteria), started
Check feasibility on CDP side (Foued) ongoing. Started in sprint 4 (Oct 20)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>
                        <a:solidFill>
                          <a:schemeClr val="accent1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4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4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4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4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DE" sz="800">
                        <a:highlight>
                          <a:srgbClr val="FFFF00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88707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5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5}}</a:t>
                      </a:r>
                      <a:br>
                        <a:rPr lang="en-US" sz="700" dirty="0"/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5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5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365521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6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6}}</a:t>
                      </a:r>
                      <a:br>
                        <a:rPr lang="en-US" sz="700" dirty="0"/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6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6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485051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7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7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7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7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3601772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684BAE62-6C83-413D-8DF0-6FFDDFA7BFCA}"/>
              </a:ext>
            </a:extLst>
          </p:cNvPr>
          <p:cNvSpPr/>
          <p:nvPr/>
        </p:nvSpPr>
        <p:spPr>
          <a:xfrm>
            <a:off x="484233" y="1569905"/>
            <a:ext cx="11160000" cy="261586"/>
          </a:xfrm>
          <a:prstGeom prst="rect">
            <a:avLst/>
          </a:prstGeom>
        </p:spPr>
        <p:txBody>
          <a:bodyPr wrap="square" lIns="91416" tIns="45708" rIns="91416" bIns="45708" anchor="t">
            <a:spAutoFit/>
          </a:bodyPr>
          <a:lstStyle/>
          <a:p>
            <a:pPr marL="178435" marR="0" lvl="0" indent="-178435" algn="l" defTabSz="1088122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99999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+mn-cs"/>
              </a:rPr>
              <a:t>{{AI</a:t>
            </a:r>
            <a:r>
              <a:rPr lang="en-US" sz="1100" dirty="0">
                <a:solidFill>
                  <a:srgbClr val="000000"/>
                </a:solidFill>
                <a:highlight>
                  <a:srgbClr val="FFFF00"/>
                </a:highlight>
                <a:latin typeface="72 Brand" panose="020B0504030603020204" pitchFamily="34" charset="0"/>
              </a:rPr>
              <a:t>OverviewMessage1}}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72 Brand" panose="020B0504030603020204" pitchFamily="34" charset="0"/>
                <a:ea typeface="+mn-ea"/>
                <a:cs typeface="+mn-cs"/>
              </a:rPr>
              <a:t>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D7C26AF-C5B6-46E6-9C29-FC8FF94AF77D}"/>
              </a:ext>
            </a:extLst>
          </p:cNvPr>
          <p:cNvCxnSpPr>
            <a:cxnSpLocks/>
          </p:cNvCxnSpPr>
          <p:nvPr/>
        </p:nvCxnSpPr>
        <p:spPr>
          <a:xfrm flipV="1">
            <a:off x="546657" y="1604761"/>
            <a:ext cx="11174831" cy="1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4480ABA4-9EB2-4498-8EC3-33D415EE607E}"/>
              </a:ext>
            </a:extLst>
          </p:cNvPr>
          <p:cNvSpPr txBox="1"/>
          <p:nvPr/>
        </p:nvSpPr>
        <p:spPr>
          <a:xfrm>
            <a:off x="517667" y="1353606"/>
            <a:ext cx="113243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57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70F2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Key Message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DA355873-23F8-4BE4-8706-51E4331F4FE4}"/>
              </a:ext>
            </a:extLst>
          </p:cNvPr>
          <p:cNvGraphicFramePr>
            <a:graphicFrameLocks noGrp="1"/>
          </p:cNvGraphicFramePr>
          <p:nvPr/>
        </p:nvGraphicFramePr>
        <p:xfrm>
          <a:off x="10293715" y="638646"/>
          <a:ext cx="1837895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0452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833374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8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4" name="dritter_kreis">
            <a:extLst>
              <a:ext uri="{FF2B5EF4-FFF2-40B4-BE49-F238E27FC236}">
                <a16:creationId xmlns:a16="http://schemas.microsoft.com/office/drawing/2014/main" id="{DF61D3C7-AEDD-42FF-B0D4-6016912D8EA0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494691" y="668226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9FC80B7-462D-0F31-D0C2-2CC4BE579D78}"/>
              </a:ext>
            </a:extLst>
          </p:cNvPr>
          <p:cNvSpPr txBox="1"/>
          <p:nvPr/>
        </p:nvSpPr>
        <p:spPr>
          <a:xfrm>
            <a:off x="1212574" y="1759226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FDAC2BF-17E7-EC21-4FD4-D1D3E7FB68DF}"/>
              </a:ext>
            </a:extLst>
          </p:cNvPr>
          <p:cNvGrpSpPr/>
          <p:nvPr/>
        </p:nvGrpSpPr>
        <p:grpSpPr>
          <a:xfrm>
            <a:off x="8416613" y="6529844"/>
            <a:ext cx="3035627" cy="276443"/>
            <a:chOff x="8425119" y="6189621"/>
            <a:chExt cx="3035627" cy="276443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E9328F0B-FF78-5EEE-23DC-9F0DF216A3A9}"/>
                </a:ext>
              </a:extLst>
            </p:cNvPr>
            <p:cNvGrpSpPr/>
            <p:nvPr/>
          </p:nvGrpSpPr>
          <p:grpSpPr>
            <a:xfrm>
              <a:off x="9316179" y="6190553"/>
              <a:ext cx="2144567" cy="275511"/>
              <a:chOff x="9452248" y="6581190"/>
              <a:chExt cx="2144567" cy="275511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D075EE3F-1670-F362-8245-7102592998F4}"/>
                  </a:ext>
                </a:extLst>
              </p:cNvPr>
              <p:cNvGrpSpPr/>
              <p:nvPr/>
            </p:nvGrpSpPr>
            <p:grpSpPr>
              <a:xfrm>
                <a:off x="10100387" y="6581190"/>
                <a:ext cx="506279" cy="123111"/>
                <a:chOff x="6295651" y="6636723"/>
                <a:chExt cx="506279" cy="123111"/>
              </a:xfrm>
            </p:grpSpPr>
            <p:sp>
              <p:nvSpPr>
                <p:cNvPr id="33" name="Rectangle 32">
                  <a:extLst>
                    <a:ext uri="{FF2B5EF4-FFF2-40B4-BE49-F238E27FC236}">
                      <a16:creationId xmlns:a16="http://schemas.microsoft.com/office/drawing/2014/main" id="{F364D61B-768D-80DF-CA8E-4AD78CB10D95}"/>
                    </a:ext>
                  </a:extLst>
                </p:cNvPr>
                <p:cNvSpPr/>
                <p:nvPr/>
              </p:nvSpPr>
              <p:spPr bwMode="gray">
                <a:xfrm>
                  <a:off x="6295651" y="6650902"/>
                  <a:ext cx="108000" cy="108000"/>
                </a:xfrm>
                <a:prstGeom prst="rect">
                  <a:avLst/>
                </a:prstGeom>
                <a:solidFill>
                  <a:srgbClr val="FFC933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2C65040F-4055-BC84-D065-3E63844150E3}"/>
                    </a:ext>
                  </a:extLst>
                </p:cNvPr>
                <p:cNvSpPr txBox="1"/>
                <p:nvPr/>
              </p:nvSpPr>
              <p:spPr>
                <a:xfrm>
                  <a:off x="6439651" y="6636723"/>
                  <a:ext cx="362279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delayed</a:t>
                  </a:r>
                </a:p>
              </p:txBody>
            </p:sp>
          </p:grp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9EEB2864-79EA-7102-D835-98E957C0863F}"/>
                  </a:ext>
                </a:extLst>
              </p:cNvPr>
              <p:cNvGrpSpPr/>
              <p:nvPr/>
            </p:nvGrpSpPr>
            <p:grpSpPr>
              <a:xfrm>
                <a:off x="10725052" y="6581190"/>
                <a:ext cx="871763" cy="275511"/>
                <a:chOff x="6118362" y="6636723"/>
                <a:chExt cx="871763" cy="275511"/>
              </a:xfrm>
            </p:grpSpPr>
            <p:sp>
              <p:nvSpPr>
                <p:cNvPr id="31" name="Rectangle 30">
                  <a:extLst>
                    <a:ext uri="{FF2B5EF4-FFF2-40B4-BE49-F238E27FC236}">
                      <a16:creationId xmlns:a16="http://schemas.microsoft.com/office/drawing/2014/main" id="{5408FA71-995A-BA79-12B7-0C90F1C30C07}"/>
                    </a:ext>
                  </a:extLst>
                </p:cNvPr>
                <p:cNvSpPr/>
                <p:nvPr/>
              </p:nvSpPr>
              <p:spPr bwMode="gray">
                <a:xfrm>
                  <a:off x="6118362" y="6650902"/>
                  <a:ext cx="108000" cy="108000"/>
                </a:xfrm>
                <a:prstGeom prst="rect">
                  <a:avLst/>
                </a:prstGeom>
                <a:solidFill>
                  <a:srgbClr val="D20A0A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2" name="TextBox 31">
                  <a:extLst>
                    <a:ext uri="{FF2B5EF4-FFF2-40B4-BE49-F238E27FC236}">
                      <a16:creationId xmlns:a16="http://schemas.microsoft.com/office/drawing/2014/main" id="{179665A1-E62B-391E-2CC0-5BE1BFFCE536}"/>
                    </a:ext>
                  </a:extLst>
                </p:cNvPr>
                <p:cNvSpPr txBox="1"/>
                <p:nvPr/>
              </p:nvSpPr>
              <p:spPr>
                <a:xfrm>
                  <a:off x="6255950" y="6636723"/>
                  <a:ext cx="73417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lang="en-GB" sz="800" kern="0">
                      <a:solidFill>
                        <a:srgbClr val="000000"/>
                      </a:solidFill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b</a:t>
                  </a:r>
                  <a:r>
                    <a:rPr kumimoji="0" lang="en-GB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locked / a</a:t>
                  </a: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t risk</a:t>
                  </a:r>
                </a:p>
              </p:txBody>
            </p:sp>
            <p:sp>
              <p:nvSpPr>
                <p:cNvPr id="8" name="TextBox 7">
                  <a:extLst>
                    <a:ext uri="{FF2B5EF4-FFF2-40B4-BE49-F238E27FC236}">
                      <a16:creationId xmlns:a16="http://schemas.microsoft.com/office/drawing/2014/main" id="{4CD89C84-97E8-CEE9-9B15-713A736A0DC3}"/>
                    </a:ext>
                  </a:extLst>
                </p:cNvPr>
                <p:cNvSpPr txBox="1"/>
                <p:nvPr/>
              </p:nvSpPr>
              <p:spPr>
                <a:xfrm>
                  <a:off x="6414762" y="6789123"/>
                  <a:ext cx="6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</p:grpSp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F183A9C4-3D09-115F-8B01-A3E21D930521}"/>
                  </a:ext>
                </a:extLst>
              </p:cNvPr>
              <p:cNvGrpSpPr/>
              <p:nvPr/>
            </p:nvGrpSpPr>
            <p:grpSpPr>
              <a:xfrm>
                <a:off x="9452248" y="6581190"/>
                <a:ext cx="511088" cy="123111"/>
                <a:chOff x="6454275" y="6636723"/>
                <a:chExt cx="511088" cy="123111"/>
              </a:xfrm>
            </p:grpSpPr>
            <p:sp>
              <p:nvSpPr>
                <p:cNvPr id="29" name="Rectangle 28">
                  <a:extLst>
                    <a:ext uri="{FF2B5EF4-FFF2-40B4-BE49-F238E27FC236}">
                      <a16:creationId xmlns:a16="http://schemas.microsoft.com/office/drawing/2014/main" id="{E76DA291-21EA-4E5A-CBBB-B23AA27A086A}"/>
                    </a:ext>
                  </a:extLst>
                </p:cNvPr>
                <p:cNvSpPr/>
                <p:nvPr/>
              </p:nvSpPr>
              <p:spPr bwMode="gray">
                <a:xfrm>
                  <a:off x="6454275" y="6650902"/>
                  <a:ext cx="108000" cy="108000"/>
                </a:xfrm>
                <a:prstGeom prst="rect">
                  <a:avLst/>
                </a:prstGeom>
                <a:solidFill>
                  <a:srgbClr val="36A41D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0" name="TextBox 29">
                  <a:extLst>
                    <a:ext uri="{FF2B5EF4-FFF2-40B4-BE49-F238E27FC236}">
                      <a16:creationId xmlns:a16="http://schemas.microsoft.com/office/drawing/2014/main" id="{2C52BBD6-7076-5E50-B68F-EC204BB09F2C}"/>
                    </a:ext>
                  </a:extLst>
                </p:cNvPr>
                <p:cNvSpPr txBox="1"/>
                <p:nvPr/>
              </p:nvSpPr>
              <p:spPr>
                <a:xfrm>
                  <a:off x="6598275" y="6636723"/>
                  <a:ext cx="367088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on track</a:t>
                  </a:r>
                </a:p>
              </p:txBody>
            </p:sp>
          </p:grpSp>
        </p:grp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74FF9AE-AEBC-9462-9BAE-B6A5193DFD79}"/>
                </a:ext>
              </a:extLst>
            </p:cNvPr>
            <p:cNvSpPr/>
            <p:nvPr/>
          </p:nvSpPr>
          <p:spPr bwMode="gray">
            <a:xfrm>
              <a:off x="8425119" y="6190553"/>
              <a:ext cx="108000" cy="108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endParaRPr kumimoji="0" lang="en-DE" sz="1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E45FE75-EDD3-DF04-C89E-DF1F70938727}"/>
                </a:ext>
              </a:extLst>
            </p:cNvPr>
            <p:cNvSpPr txBox="1"/>
            <p:nvPr/>
          </p:nvSpPr>
          <p:spPr>
            <a:xfrm>
              <a:off x="8562017" y="6189621"/>
              <a:ext cx="66975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88776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r>
                <a:rPr lang="en-US" sz="800" kern="0">
                  <a:solidFill>
                    <a:srgbClr val="000000"/>
                  </a:solidFill>
                  <a:latin typeface="72 Brand"/>
                  <a:ea typeface="Arial Unicode MS" pitchFamily="34" charset="-128"/>
                  <a:cs typeface="Arial Unicode MS" pitchFamily="34" charset="-128"/>
                </a:rPr>
                <a:t>n</a:t>
              </a:r>
              <a:r>
                <a:rPr kumimoji="0" lang="en-US" sz="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ot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 started</a:t>
              </a:r>
              <a:endPara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001E1662-8222-291E-395E-97EDE7C28201}"/>
              </a:ext>
            </a:extLst>
          </p:cNvPr>
          <p:cNvSpPr txBox="1">
            <a:spLocks/>
          </p:cNvSpPr>
          <p:nvPr/>
        </p:nvSpPr>
        <p:spPr>
          <a:xfrm>
            <a:off x="8840805" y="288129"/>
            <a:ext cx="290582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de-DE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wner: </a:t>
            </a:r>
            <a:r>
              <a:rPr kumimoji="0" lang="de-DE" sz="11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CV Team, Marketing Team</a:t>
            </a:r>
            <a:endParaRPr kumimoji="0" lang="de-DE" sz="110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470521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2CB784-1B64-6AE0-FB8B-F07FC530B4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D335A23-9BE9-6FFA-8E69-7452A32922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335A23-9BE9-6FFA-8E69-7452A32922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3925C308-9233-DD22-0F06-93D36B6FCC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de-DE" noProof="1">
                <a:solidFill>
                  <a:srgbClr val="002A86"/>
                </a:solidFill>
              </a:rPr>
              <a:t>2. CDP Foundational Use Cases | </a:t>
            </a:r>
            <a:r>
              <a:rPr lang="de-DE" noProof="1"/>
              <a:t>Status Update (2/2)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5B2052E5-9AAF-2BD8-6445-1B9C14EA65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6502339"/>
              </p:ext>
            </p:extLst>
          </p:nvPr>
        </p:nvGraphicFramePr>
        <p:xfrm>
          <a:off x="504001" y="2036224"/>
          <a:ext cx="11242624" cy="2945573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95102">
                  <a:extLst>
                    <a:ext uri="{9D8B030D-6E8A-4147-A177-3AD203B41FA5}">
                      <a16:colId xmlns:a16="http://schemas.microsoft.com/office/drawing/2014/main" val="2604398794"/>
                    </a:ext>
                  </a:extLst>
                </a:gridCol>
                <a:gridCol w="2176807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951040">
                  <a:extLst>
                    <a:ext uri="{9D8B030D-6E8A-4147-A177-3AD203B41FA5}">
                      <a16:colId xmlns:a16="http://schemas.microsoft.com/office/drawing/2014/main" val="1607541072"/>
                    </a:ext>
                  </a:extLst>
                </a:gridCol>
                <a:gridCol w="819675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399351"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#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Use Case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Overall Status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Statu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0485751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8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8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8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8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9610763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de-DE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9</a:t>
                      </a:r>
                      <a:endParaRPr lang="en-US" sz="7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 Unicode MS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9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9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9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7473885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10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10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10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10}}</a:t>
                      </a:r>
                    </a:p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7573048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11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11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11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11}}</a:t>
                      </a:r>
                    </a:p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9029581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12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12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12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12}}</a:t>
                      </a:r>
                    </a:p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5247632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13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13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13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13}}</a:t>
                      </a:r>
                    </a:p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7040972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0CD8BE60-FCA3-F9BB-E313-D2DB8A847795}"/>
              </a:ext>
            </a:extLst>
          </p:cNvPr>
          <p:cNvSpPr/>
          <p:nvPr/>
        </p:nvSpPr>
        <p:spPr>
          <a:xfrm>
            <a:off x="484233" y="1569905"/>
            <a:ext cx="11160000" cy="261586"/>
          </a:xfrm>
          <a:prstGeom prst="rect">
            <a:avLst/>
          </a:prstGeom>
        </p:spPr>
        <p:txBody>
          <a:bodyPr wrap="square" lIns="91416" tIns="45708" rIns="91416" bIns="45708" anchor="t">
            <a:spAutoFit/>
          </a:bodyPr>
          <a:lstStyle/>
          <a:p>
            <a:pPr marL="178435" marR="0" lvl="0" indent="-178435" algn="l" defTabSz="1088122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99999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+mn-cs"/>
              </a:rPr>
              <a:t>All CDP Foundational Use Cases are on track and will enable business adoption. 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72 Brand" panose="020B0504030603020204" pitchFamily="34" charset="0"/>
              <a:ea typeface="+mn-ea"/>
              <a:cs typeface="+mn-cs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814F9FE-210E-698B-81D3-BAFFFC47D077}"/>
              </a:ext>
            </a:extLst>
          </p:cNvPr>
          <p:cNvCxnSpPr>
            <a:cxnSpLocks/>
          </p:cNvCxnSpPr>
          <p:nvPr/>
        </p:nvCxnSpPr>
        <p:spPr>
          <a:xfrm flipV="1">
            <a:off x="546657" y="1604761"/>
            <a:ext cx="11174831" cy="1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E4A7581A-EFD7-05FC-65A8-923249C651FC}"/>
              </a:ext>
            </a:extLst>
          </p:cNvPr>
          <p:cNvSpPr txBox="1"/>
          <p:nvPr/>
        </p:nvSpPr>
        <p:spPr>
          <a:xfrm>
            <a:off x="517667" y="1353606"/>
            <a:ext cx="113243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57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70F2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Key Message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891D674A-032C-97DB-09ED-8E9FE86828BC}"/>
              </a:ext>
            </a:extLst>
          </p:cNvPr>
          <p:cNvGraphicFramePr>
            <a:graphicFrameLocks noGrp="1"/>
          </p:cNvGraphicFramePr>
          <p:nvPr/>
        </p:nvGraphicFramePr>
        <p:xfrm>
          <a:off x="10293715" y="638646"/>
          <a:ext cx="1837895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0452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833374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8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4" name="dritter_kreis">
            <a:extLst>
              <a:ext uri="{FF2B5EF4-FFF2-40B4-BE49-F238E27FC236}">
                <a16:creationId xmlns:a16="http://schemas.microsoft.com/office/drawing/2014/main" id="{DF7C222B-8501-2581-BC86-28109E782FA2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494691" y="668226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DF9697E-F440-CCB8-06C6-5A952EBF1F58}"/>
              </a:ext>
            </a:extLst>
          </p:cNvPr>
          <p:cNvSpPr txBox="1"/>
          <p:nvPr/>
        </p:nvSpPr>
        <p:spPr>
          <a:xfrm>
            <a:off x="1212574" y="1759226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BFB73BA-8160-4318-C955-FD703CFBCA8C}"/>
              </a:ext>
            </a:extLst>
          </p:cNvPr>
          <p:cNvGrpSpPr/>
          <p:nvPr/>
        </p:nvGrpSpPr>
        <p:grpSpPr>
          <a:xfrm>
            <a:off x="8416613" y="6529844"/>
            <a:ext cx="3035627" cy="276443"/>
            <a:chOff x="8425119" y="6189621"/>
            <a:chExt cx="3035627" cy="276443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64948307-9D4D-445E-91DA-4F40091520AF}"/>
                </a:ext>
              </a:extLst>
            </p:cNvPr>
            <p:cNvGrpSpPr/>
            <p:nvPr/>
          </p:nvGrpSpPr>
          <p:grpSpPr>
            <a:xfrm>
              <a:off x="9316179" y="6190553"/>
              <a:ext cx="2144567" cy="275511"/>
              <a:chOff x="9452248" y="6581190"/>
              <a:chExt cx="2144567" cy="275511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2B8BA1A8-89CA-56D0-9396-2674F4774806}"/>
                  </a:ext>
                </a:extLst>
              </p:cNvPr>
              <p:cNvGrpSpPr/>
              <p:nvPr/>
            </p:nvGrpSpPr>
            <p:grpSpPr>
              <a:xfrm>
                <a:off x="10100387" y="6581190"/>
                <a:ext cx="506279" cy="123111"/>
                <a:chOff x="6295651" y="6636723"/>
                <a:chExt cx="506279" cy="123111"/>
              </a:xfrm>
            </p:grpSpPr>
            <p:sp>
              <p:nvSpPr>
                <p:cNvPr id="33" name="Rectangle 32">
                  <a:extLst>
                    <a:ext uri="{FF2B5EF4-FFF2-40B4-BE49-F238E27FC236}">
                      <a16:creationId xmlns:a16="http://schemas.microsoft.com/office/drawing/2014/main" id="{C4802ED4-0230-7AA5-0D99-74BCF445DD51}"/>
                    </a:ext>
                  </a:extLst>
                </p:cNvPr>
                <p:cNvSpPr/>
                <p:nvPr/>
              </p:nvSpPr>
              <p:spPr bwMode="gray">
                <a:xfrm>
                  <a:off x="6295651" y="6650902"/>
                  <a:ext cx="108000" cy="108000"/>
                </a:xfrm>
                <a:prstGeom prst="rect">
                  <a:avLst/>
                </a:prstGeom>
                <a:solidFill>
                  <a:srgbClr val="FFC933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BF5CECEF-74A4-51A6-16DB-06E6DD0325CA}"/>
                    </a:ext>
                  </a:extLst>
                </p:cNvPr>
                <p:cNvSpPr txBox="1"/>
                <p:nvPr/>
              </p:nvSpPr>
              <p:spPr>
                <a:xfrm>
                  <a:off x="6439651" y="6636723"/>
                  <a:ext cx="362279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delayed</a:t>
                  </a:r>
                </a:p>
              </p:txBody>
            </p:sp>
          </p:grp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4B21A568-41A0-D22A-1382-88CE1F0D962A}"/>
                  </a:ext>
                </a:extLst>
              </p:cNvPr>
              <p:cNvGrpSpPr/>
              <p:nvPr/>
            </p:nvGrpSpPr>
            <p:grpSpPr>
              <a:xfrm>
                <a:off x="10725052" y="6581190"/>
                <a:ext cx="871763" cy="275511"/>
                <a:chOff x="6118362" y="6636723"/>
                <a:chExt cx="871763" cy="275511"/>
              </a:xfrm>
            </p:grpSpPr>
            <p:sp>
              <p:nvSpPr>
                <p:cNvPr id="31" name="Rectangle 30">
                  <a:extLst>
                    <a:ext uri="{FF2B5EF4-FFF2-40B4-BE49-F238E27FC236}">
                      <a16:creationId xmlns:a16="http://schemas.microsoft.com/office/drawing/2014/main" id="{47ACFF95-9363-D10D-12B9-482A17B5D5B6}"/>
                    </a:ext>
                  </a:extLst>
                </p:cNvPr>
                <p:cNvSpPr/>
                <p:nvPr/>
              </p:nvSpPr>
              <p:spPr bwMode="gray">
                <a:xfrm>
                  <a:off x="6118362" y="6650902"/>
                  <a:ext cx="108000" cy="108000"/>
                </a:xfrm>
                <a:prstGeom prst="rect">
                  <a:avLst/>
                </a:prstGeom>
                <a:solidFill>
                  <a:srgbClr val="D20A0A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2" name="TextBox 31">
                  <a:extLst>
                    <a:ext uri="{FF2B5EF4-FFF2-40B4-BE49-F238E27FC236}">
                      <a16:creationId xmlns:a16="http://schemas.microsoft.com/office/drawing/2014/main" id="{2F0C3655-065F-F995-0932-925EDAD1A268}"/>
                    </a:ext>
                  </a:extLst>
                </p:cNvPr>
                <p:cNvSpPr txBox="1"/>
                <p:nvPr/>
              </p:nvSpPr>
              <p:spPr>
                <a:xfrm>
                  <a:off x="6255950" y="6636723"/>
                  <a:ext cx="73417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lang="en-GB" sz="800" kern="0">
                      <a:solidFill>
                        <a:srgbClr val="000000"/>
                      </a:solidFill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b</a:t>
                  </a:r>
                  <a:r>
                    <a:rPr kumimoji="0" lang="en-GB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locked / a</a:t>
                  </a: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t risk</a:t>
                  </a:r>
                </a:p>
              </p:txBody>
            </p:sp>
            <p:sp>
              <p:nvSpPr>
                <p:cNvPr id="8" name="TextBox 7">
                  <a:extLst>
                    <a:ext uri="{FF2B5EF4-FFF2-40B4-BE49-F238E27FC236}">
                      <a16:creationId xmlns:a16="http://schemas.microsoft.com/office/drawing/2014/main" id="{09961D0B-A129-6220-7717-6728640437AE}"/>
                    </a:ext>
                  </a:extLst>
                </p:cNvPr>
                <p:cNvSpPr txBox="1"/>
                <p:nvPr/>
              </p:nvSpPr>
              <p:spPr>
                <a:xfrm>
                  <a:off x="6414762" y="6789123"/>
                  <a:ext cx="6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</p:grpSp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6B020143-B2DB-5EA8-CE07-989466E6C3DB}"/>
                  </a:ext>
                </a:extLst>
              </p:cNvPr>
              <p:cNvGrpSpPr/>
              <p:nvPr/>
            </p:nvGrpSpPr>
            <p:grpSpPr>
              <a:xfrm>
                <a:off x="9452248" y="6581190"/>
                <a:ext cx="511088" cy="123111"/>
                <a:chOff x="6454275" y="6636723"/>
                <a:chExt cx="511088" cy="123111"/>
              </a:xfrm>
            </p:grpSpPr>
            <p:sp>
              <p:nvSpPr>
                <p:cNvPr id="29" name="Rectangle 28">
                  <a:extLst>
                    <a:ext uri="{FF2B5EF4-FFF2-40B4-BE49-F238E27FC236}">
                      <a16:creationId xmlns:a16="http://schemas.microsoft.com/office/drawing/2014/main" id="{29D24DB5-5497-70FC-4648-7DAB4C9F6546}"/>
                    </a:ext>
                  </a:extLst>
                </p:cNvPr>
                <p:cNvSpPr/>
                <p:nvPr/>
              </p:nvSpPr>
              <p:spPr bwMode="gray">
                <a:xfrm>
                  <a:off x="6454275" y="6650902"/>
                  <a:ext cx="108000" cy="108000"/>
                </a:xfrm>
                <a:prstGeom prst="rect">
                  <a:avLst/>
                </a:prstGeom>
                <a:solidFill>
                  <a:srgbClr val="36A41D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0" name="TextBox 29">
                  <a:extLst>
                    <a:ext uri="{FF2B5EF4-FFF2-40B4-BE49-F238E27FC236}">
                      <a16:creationId xmlns:a16="http://schemas.microsoft.com/office/drawing/2014/main" id="{C3299797-137D-97DC-2FF5-5F6A780387BE}"/>
                    </a:ext>
                  </a:extLst>
                </p:cNvPr>
                <p:cNvSpPr txBox="1"/>
                <p:nvPr/>
              </p:nvSpPr>
              <p:spPr>
                <a:xfrm>
                  <a:off x="6598275" y="6636723"/>
                  <a:ext cx="367088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on track</a:t>
                  </a:r>
                </a:p>
              </p:txBody>
            </p:sp>
          </p:grpSp>
        </p:grp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49A294C-B891-1C58-7B1E-513F453DCBF0}"/>
                </a:ext>
              </a:extLst>
            </p:cNvPr>
            <p:cNvSpPr/>
            <p:nvPr/>
          </p:nvSpPr>
          <p:spPr bwMode="gray">
            <a:xfrm>
              <a:off x="8425119" y="6190553"/>
              <a:ext cx="108000" cy="108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endParaRPr kumimoji="0" lang="en-DE" sz="1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9F7071F2-0FDA-3FC7-A24A-2464422D359B}"/>
                </a:ext>
              </a:extLst>
            </p:cNvPr>
            <p:cNvSpPr txBox="1"/>
            <p:nvPr/>
          </p:nvSpPr>
          <p:spPr>
            <a:xfrm>
              <a:off x="8562017" y="6189621"/>
              <a:ext cx="66975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88776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r>
                <a:rPr lang="en-US" sz="800" kern="0">
                  <a:solidFill>
                    <a:srgbClr val="000000"/>
                  </a:solidFill>
                  <a:latin typeface="72 Brand"/>
                  <a:ea typeface="Arial Unicode MS" pitchFamily="34" charset="-128"/>
                  <a:cs typeface="Arial Unicode MS" pitchFamily="34" charset="-128"/>
                </a:rPr>
                <a:t>n</a:t>
              </a:r>
              <a:r>
                <a:rPr kumimoji="0" lang="en-US" sz="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ot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 started</a:t>
              </a:r>
              <a:endPara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D399000F-4FFB-0F47-8B2F-8895ABC5AABF}"/>
              </a:ext>
            </a:extLst>
          </p:cNvPr>
          <p:cNvSpPr txBox="1">
            <a:spLocks/>
          </p:cNvSpPr>
          <p:nvPr/>
        </p:nvSpPr>
        <p:spPr>
          <a:xfrm>
            <a:off x="8840805" y="288129"/>
            <a:ext cx="290582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de-DE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wner: </a:t>
            </a:r>
            <a:r>
              <a:rPr kumimoji="0" lang="de-DE" sz="11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CV Team, Marketing Team</a:t>
            </a:r>
            <a:endParaRPr kumimoji="0" lang="de-DE" sz="110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297594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EAA23CB6-246F-47D8-A9DC-B6A0B13EDD3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EAA23CB6-246F-47D8-A9DC-B6A0B13EDD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1F46F7A-ACFF-49CE-A0E9-6BD30EDB70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b="1">
                <a:solidFill>
                  <a:srgbClr val="00B0F0"/>
                </a:solidFill>
              </a:rPr>
              <a:t>ITDYM-4319 – CDP MVP | RISE Program</a:t>
            </a:r>
            <a:r>
              <a:rPr sz="700"/>
              <a:t>
</a:t>
            </a: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66307A8-CBF1-440C-B5F4-9274698CE55C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89F5BB3-C97D-4FB8-8E0D-01B339EA7573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Help accelerate customers to our cloud by demonstrating value at key accounts, particularly for key decision makers and influencers (finance &amp; operations)
Map marketing engagement to pipeline forecast (aligned across marketing &amp; sales) to drive new opportunities (revenue) by building reputation and relationships through relevant reach &amp; engagement touchpoints for all target and hidden buyer personas of the RISE Buying Committees from our target accounts.
Target RISE accounts in LinkedI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00C1BE-3AB4-47B2-8DAF-BCFCE1085D0E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sz="1000">
                <a:solidFill>
                  <a:srgbClr val="000000"/>
                </a:solidFill>
              </a:rPr>
              <a:t>Market(s): Austria &amp; Nordics. Persona (“sub-IDP”): CIO
Segment: ECC customers engaged with marketing, no pipeline, with medium to large Maintenance Revenue Band (&gt;100k - &lt;500k [medium] &amp; &gt;500k [large])
TAL as of Q4 2024: # Austria = 153 Accounts / # Nordics = 149 Accounts (Denmark, Norway, Iceland, Sweden, Finland combined)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1EF3A94-C028-4342-907E-40D400942590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Value Measurement:
Generate net new contacts (opt-in)
Among others, increase Ad, Web and Buying Committee Engagement, and engagement score 
KPI to be measured: 
Reach X% (penetration rate) into Accounts 
Engagement: Increase number, frequency and quality of interactions / X% increase in engagement and asset consumption rates
Generate X% new marketable contacts within targeted accounts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B2A80C4-C191-49F1-A263-B103EBF70439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Marketing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D112845-C5E9-4904-ACA1-E3CE47096904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sz="1000">
                <a:solidFill>
                  <a:srgbClr val="000000"/>
                </a:solidFill>
              </a:rPr>
              <a:t>Nitin Singh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FD30885-3D51-4A18-B024-C78176E39DD5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Dennis Flick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FFD9B79-041D-4034-876E-318003D6AE7E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Buying Committe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B5357AE-B31E-4BF4-B6A6-C1DC9613230A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sz="1000">
                <a:solidFill>
                  <a:srgbClr val="000000"/>
                </a:solidFill>
              </a:rPr>
              <a:t>Marketing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1467BBC-04CD-4F91-92CE-8D8AB53837C3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34E48B2-5927-4E30-AA9E-CE2AD6ED143E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ECE756F-E4EF-4B6E-A013-8F978B62D2B7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F0F7947-6073-49B2-8C3A-555FE2504C2C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65716C9-B6B4-4ECD-976C-BF1B61E4AED9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0416436-E6D5-424D-92F2-57C4B446FF41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5FC379F-A183-4C02-8AA6-C0FB64FB7EC8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3AFA53B-D952-4747-9E2D-5BC16132A362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9CFC743-EF36-4368-B487-5166769CB9FD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E3310F6D-1963-4F0B-A62B-89EFBCFB8F34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C3586167-F2F3-4D01-8959-2D03D437AF20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B12D2E4D-5593-4EC3-8ADC-47827A0EFA14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34635045-C65C-41BA-A199-5E95CD8A4CEE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E11FE1B8-2219-4805-85E8-CA8AAAA88F3B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95535CD2-FDEA-485E-B81C-D1D39A808CA9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F2DE257F-B4E4-43DA-86AE-201331655251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FC73BA1-9AFF-4685-8FC5-9D615BA25C2A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25096A61-CBE5-4328-BCAD-C2AA84475C6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B641277B-312E-4DB0-B064-A81984FE5E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9F83DAF6-F612-4838-AD69-DE929789E8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BFF7F8DE-6ACA-4C18-BBFA-FA60133711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4518140C-636B-4699-9729-7A22ED4CAB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CB5463A3-AD68-4A96-B534-DD1F2E7ECB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4626AE28-4342-40EF-9EE4-E3CACA10AC8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EF091B33-A1B6-42A5-8590-0B3DCF8275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85A07DB3-0E5A-7891-568D-72FADF38ADF1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498DA22-1638-53F4-B737-9A6C3F509565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7EAA030-67A6-6C4B-0D74-B7794C0B650C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6816F17-2E76-8A0E-417C-88BC0D0384A9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2ABBD39-C7E1-6AAA-441F-81E8F4574EF6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8411016-561D-C72D-0480-6F0FB962613C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353A254B-6594-0B9E-91E4-82D31BBB091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4BB6DC85-5185-827C-92E7-16BC139EDD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C8A28576-780F-6B0A-4C79-5C4D40E7E5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294AD484-D4F5-7150-61CE-4F5A4EEC2A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B33F9E8B-37D1-8BFF-7C0D-26997632EF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ED69918A-28C7-2AE6-F58E-27C7BD6B0A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00BE37B0-7313-9C20-C9F6-8C76BFF7B4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B0A277D3-5E45-49E2-5F13-4D801DD7D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74C8E3BE-485A-1C81-538A-42625EEB51D1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146065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SP_AGENDA" val="SectionNumber SlideNumber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.BUai09UixoCxVZ60x2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heme/theme1.xml><?xml version="1.0" encoding="utf-8"?>
<a:theme xmlns:a="http://schemas.openxmlformats.org/drawingml/2006/main" name="SAP Template 2024">
  <a:themeElements>
    <a:clrScheme name="SAP Colors 2023">
      <a:dk1>
        <a:srgbClr val="000000"/>
      </a:dk1>
      <a:lt1>
        <a:srgbClr val="FFFFFF"/>
      </a:lt1>
      <a:dk2>
        <a:srgbClr val="1B90FF"/>
      </a:dk2>
      <a:lt2>
        <a:srgbClr val="89D1FF"/>
      </a:lt2>
      <a:accent1>
        <a:srgbClr val="E76500"/>
      </a:accent1>
      <a:accent2>
        <a:srgbClr val="049F9A"/>
      </a:accent2>
      <a:accent3>
        <a:srgbClr val="36A41D"/>
      </a:accent3>
      <a:accent4>
        <a:srgbClr val="FA4F96"/>
      </a:accent4>
      <a:accent5>
        <a:srgbClr val="F31DED"/>
      </a:accent5>
      <a:accent6>
        <a:srgbClr val="7858FF"/>
      </a:accent6>
      <a:hlink>
        <a:srgbClr val="0070F2"/>
      </a:hlink>
      <a:folHlink>
        <a:srgbClr val="0070F2"/>
      </a:folHlink>
    </a:clrScheme>
    <a:fontScheme name="SAP 2023">
      <a:majorFont>
        <a:latin typeface="72 Brand Medium"/>
        <a:ea typeface=""/>
        <a:cs typeface=""/>
      </a:majorFont>
      <a:minorFont>
        <a:latin typeface="72 Brand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lIns="90000" tIns="72000" rIns="90000" bIns="72000" rtlCol="0" anchor="ctr"/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 fontAlgn="base">
          <a:spcBef>
            <a:spcPct val="50000"/>
          </a:spcBef>
          <a:spcAft>
            <a:spcPct val="0"/>
          </a:spcAft>
          <a:buClr>
            <a:schemeClr val="tx1"/>
          </a:buClr>
          <a:buSzPct val="100000"/>
          <a:defRPr sz="1800" kern="0" dirty="0" err="1" smtClean="0">
            <a:latin typeface="72 Brand" panose="020B0504030603020204" pitchFamily="34" charset="0"/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custClrLst>
    <a:custClr name="Blue 2">
      <a:srgbClr val="D1EFFF"/>
    </a:custClr>
    <a:custClr name="Blue 4">
      <a:srgbClr val="89D1FF"/>
    </a:custClr>
    <a:custClr name="Blue 6">
      <a:srgbClr val="1B90FF"/>
    </a:custClr>
    <a:custClr name="Blue 7">
      <a:srgbClr val="0070F2"/>
    </a:custClr>
    <a:custClr name="Blue 10">
      <a:srgbClr val="002A86"/>
    </a:custClr>
    <a:custClr name="Blue 11">
      <a:srgbClr val="00144A"/>
    </a:custClr>
    <a:custClr name="Mango 2">
      <a:srgbClr val="FFF3B8"/>
    </a:custClr>
    <a:custClr name="Mango 4">
      <a:srgbClr val="FFC933"/>
    </a:custClr>
    <a:custClr name="Mango 6">
      <a:srgbClr val="E76500"/>
    </a:custClr>
    <a:custClr name="Mango 7">
      <a:srgbClr val="C35500"/>
    </a:custClr>
    <a:custClr name="Mango 10">
      <a:srgbClr val="6D1900"/>
    </a:custClr>
    <a:custClr name="Mango 11">
      <a:srgbClr val="450B00"/>
    </a:custClr>
    <a:custClr name="Teal 2">
      <a:srgbClr val="C2FCEE"/>
    </a:custClr>
    <a:custClr name="Teal 4">
      <a:srgbClr val="2CE0BF"/>
    </a:custClr>
    <a:custClr name="Teal 6">
      <a:srgbClr val="049F9A"/>
    </a:custClr>
    <a:custClr name="Teal 7">
      <a:srgbClr val="07838F"/>
    </a:custClr>
    <a:custClr name="Teal 10">
      <a:srgbClr val="02414C"/>
    </a:custClr>
    <a:custClr name="Teal 11">
      <a:srgbClr val="012931"/>
    </a:custClr>
    <a:custClr name="Green 2">
      <a:srgbClr val="EBF5CB"/>
    </a:custClr>
    <a:custClr name="Green 4">
      <a:srgbClr val="97DD40"/>
    </a:custClr>
    <a:custClr name="Green 6">
      <a:srgbClr val="36A41D"/>
    </a:custClr>
    <a:custClr name="Green 7">
      <a:srgbClr val="188918"/>
    </a:custClr>
    <a:custClr name="Green 10">
      <a:srgbClr val="164323"/>
    </a:custClr>
    <a:custClr name="Green 11">
      <a:srgbClr val="0E2B16"/>
    </a:custClr>
    <a:custClr name="Red 2">
      <a:srgbClr val="FFD5EA"/>
    </a:custClr>
    <a:custClr name="Red 4">
      <a:srgbClr val="FF8CB2"/>
    </a:custClr>
    <a:custClr name="Red 6">
      <a:srgbClr val="EE3939"/>
    </a:custClr>
    <a:custClr name="Red 7">
      <a:srgbClr val="D20A0A"/>
    </a:custClr>
    <a:custClr name="Red 10">
      <a:srgbClr val="5A0404"/>
    </a:custClr>
    <a:custClr name="Red 11">
      <a:srgbClr val="350000"/>
    </a:custClr>
    <a:custClr name="Raspberry 2">
      <a:srgbClr val="FFDCE8"/>
    </a:custClr>
    <a:custClr name="Raspberry 4">
      <a:srgbClr val="FEADC8"/>
    </a:custClr>
    <a:custClr name="Raspberry 6">
      <a:srgbClr val="FA4F96"/>
    </a:custClr>
    <a:custClr name="Raspberry 7">
      <a:srgbClr val="DF1278"/>
    </a:custClr>
    <a:custClr name="Raspberry 10">
      <a:srgbClr val="71014B"/>
    </a:custClr>
    <a:custClr name="Raspberry 11">
      <a:srgbClr val="510136"/>
    </a:custClr>
    <a:custClr name="Pink 2">
      <a:srgbClr val="FFDCF3"/>
    </a:custClr>
    <a:custClr name="Pink 4">
      <a:srgbClr val="FF8AF0"/>
    </a:custClr>
    <a:custClr name="Pink 6">
      <a:srgbClr val="F31DED"/>
    </a:custClr>
    <a:custClr name="Pink 7">
      <a:srgbClr val="CC00DC"/>
    </a:custClr>
    <a:custClr name="Pink 10">
      <a:srgbClr val="510080"/>
    </a:custClr>
    <a:custClr name="Pink 11">
      <a:srgbClr val="28004A"/>
    </a:custClr>
    <a:custClr name="Indigo 2">
      <a:srgbClr val="E2D8FF"/>
    </a:custClr>
    <a:custClr name="Indigo 4">
      <a:srgbClr val="B894FF"/>
    </a:custClr>
    <a:custClr name="Indigo 6">
      <a:srgbClr val="7858FF"/>
    </a:custClr>
    <a:custClr name="Indigo 7">
      <a:srgbClr val="5D36FF"/>
    </a:custClr>
    <a:custClr name="Indigo 10">
      <a:srgbClr val="1C0C6E"/>
    </a:custClr>
    <a:custClr name="Indigo 11">
      <a:srgbClr val="0E0637"/>
    </a:custClr>
  </a:custClrLst>
  <a:extLst>
    <a:ext uri="{05A4C25C-085E-4340-85A3-A5531E510DB2}">
      <thm15:themeFamily xmlns:thm15="http://schemas.microsoft.com/office/thememl/2012/main" name="Presentation1" id="{55B81BDB-58CB-4201-BF21-44A37ED5EB87}" vid="{B6866D63-1A80-4754-A643-56E7499711D7}"/>
    </a:ext>
  </a:extLst>
</a:theme>
</file>

<file path=ppt/theme/theme2.xml><?xml version="1.0" encoding="utf-8"?>
<a:theme xmlns:a="http://schemas.openxmlformats.org/drawingml/2006/main" name="White Template">
  <a:themeElements>
    <a:clrScheme name="Custom 19">
      <a:dk1>
        <a:srgbClr val="000000"/>
      </a:dk1>
      <a:lt1>
        <a:srgbClr val="FFFFFF"/>
      </a:lt1>
      <a:dk2>
        <a:srgbClr val="5B738B"/>
      </a:dk2>
      <a:lt2>
        <a:srgbClr val="D5DADD"/>
      </a:lt2>
      <a:accent1>
        <a:srgbClr val="0070F2"/>
      </a:accent1>
      <a:accent2>
        <a:srgbClr val="07838F"/>
      </a:accent2>
      <a:accent3>
        <a:srgbClr val="188918"/>
      </a:accent3>
      <a:accent4>
        <a:srgbClr val="C35500"/>
      </a:accent4>
      <a:accent5>
        <a:srgbClr val="D30F15"/>
      </a:accent5>
      <a:accent6>
        <a:srgbClr val="D20ADA"/>
      </a:accent6>
      <a:hlink>
        <a:srgbClr val="0070F2"/>
      </a:hlink>
      <a:folHlink>
        <a:srgbClr val="0070F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smtClean="0">
            <a:gradFill>
              <a:gsLst>
                <a:gs pos="0">
                  <a:schemeClr val="bg1"/>
                </a:gs>
                <a:gs pos="100000">
                  <a:schemeClr val="bg1"/>
                </a:gs>
              </a:gsLst>
              <a:lin ang="5400000" scaled="1"/>
            </a:gradFill>
            <a:latin typeface="72 Brand" panose="020B0504030603020204" pitchFamily="34" charset="0"/>
            <a:ea typeface="Segoe UI" pitchFamily="34" charset="0"/>
            <a:cs typeface="72" panose="020B0503030000000003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smtClean="0">
            <a:latin typeface="72 Brand" panose="020B0504030603020204" pitchFamily="34" charset="0"/>
            <a:cs typeface="72" panose="020B05030300000000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55B81BDB-58CB-4201-BF21-44A37ED5EB87}" vid="{469BCE77-A706-4621-B5B9-B230BE3B9846}"/>
    </a:ext>
  </a:extLst>
</a:theme>
</file>

<file path=ppt/theme/theme3.xml><?xml version="1.0" encoding="utf-8"?>
<a:theme xmlns:a="http://schemas.openxmlformats.org/drawingml/2006/main" name="1_White Template">
  <a:themeElements>
    <a:clrScheme name="Custom 19">
      <a:dk1>
        <a:srgbClr val="000000"/>
      </a:dk1>
      <a:lt1>
        <a:srgbClr val="FFFFFF"/>
      </a:lt1>
      <a:dk2>
        <a:srgbClr val="5B738B"/>
      </a:dk2>
      <a:lt2>
        <a:srgbClr val="D5DADD"/>
      </a:lt2>
      <a:accent1>
        <a:srgbClr val="0070F2"/>
      </a:accent1>
      <a:accent2>
        <a:srgbClr val="07838F"/>
      </a:accent2>
      <a:accent3>
        <a:srgbClr val="188918"/>
      </a:accent3>
      <a:accent4>
        <a:srgbClr val="C35500"/>
      </a:accent4>
      <a:accent5>
        <a:srgbClr val="D30F15"/>
      </a:accent5>
      <a:accent6>
        <a:srgbClr val="D20ADA"/>
      </a:accent6>
      <a:hlink>
        <a:srgbClr val="0070F2"/>
      </a:hlink>
      <a:folHlink>
        <a:srgbClr val="0070F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smtClean="0">
            <a:gradFill>
              <a:gsLst>
                <a:gs pos="0">
                  <a:schemeClr val="bg1"/>
                </a:gs>
                <a:gs pos="100000">
                  <a:schemeClr val="bg1"/>
                </a:gs>
              </a:gsLst>
              <a:lin ang="5400000" scaled="1"/>
            </a:gradFill>
            <a:latin typeface="72 Brand" panose="020B0504030603020204" pitchFamily="34" charset="0"/>
            <a:ea typeface="Segoe UI" pitchFamily="34" charset="0"/>
            <a:cs typeface="72" panose="020B0503030000000003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smtClean="0">
            <a:latin typeface="72 Brand" panose="020B0504030603020204" pitchFamily="34" charset="0"/>
            <a:cs typeface="72" panose="020B05030300000000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55B81BDB-58CB-4201-BF21-44A37ED5EB87}" vid="{5A94DC29-6863-4507-BC9E-870BE1AB0461}"/>
    </a:ext>
  </a:extLst>
</a:theme>
</file>

<file path=ppt/theme/theme4.xml><?xml version="1.0" encoding="utf-8"?>
<a:theme xmlns:a="http://schemas.openxmlformats.org/drawingml/2006/main" name="1_SAP Template 2024">
  <a:themeElements>
    <a:clrScheme name="SAP Colors 2023">
      <a:dk1>
        <a:srgbClr val="000000"/>
      </a:dk1>
      <a:lt1>
        <a:srgbClr val="FFFFFF"/>
      </a:lt1>
      <a:dk2>
        <a:srgbClr val="1B90FF"/>
      </a:dk2>
      <a:lt2>
        <a:srgbClr val="89D1FF"/>
      </a:lt2>
      <a:accent1>
        <a:srgbClr val="E76500"/>
      </a:accent1>
      <a:accent2>
        <a:srgbClr val="049F9A"/>
      </a:accent2>
      <a:accent3>
        <a:srgbClr val="36A41D"/>
      </a:accent3>
      <a:accent4>
        <a:srgbClr val="FA4F96"/>
      </a:accent4>
      <a:accent5>
        <a:srgbClr val="F31DED"/>
      </a:accent5>
      <a:accent6>
        <a:srgbClr val="7858FF"/>
      </a:accent6>
      <a:hlink>
        <a:srgbClr val="0070F2"/>
      </a:hlink>
      <a:folHlink>
        <a:srgbClr val="0070F2"/>
      </a:folHlink>
    </a:clrScheme>
    <a:fontScheme name="SAP 2023">
      <a:majorFont>
        <a:latin typeface="72 Brand Medium"/>
        <a:ea typeface=""/>
        <a:cs typeface=""/>
      </a:majorFont>
      <a:minorFont>
        <a:latin typeface="72 Brand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lIns="90000" tIns="72000" rIns="90000" bIns="72000" rtlCol="0" anchor="ctr"/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 fontAlgn="base">
          <a:spcBef>
            <a:spcPct val="50000"/>
          </a:spcBef>
          <a:spcAft>
            <a:spcPct val="0"/>
          </a:spcAft>
          <a:buClr>
            <a:schemeClr val="tx1"/>
          </a:buClr>
          <a:buSzPct val="100000"/>
          <a:defRPr sz="1800" kern="0" dirty="0" err="1" smtClean="0">
            <a:latin typeface="72 Brand" panose="020B0504030603020204" pitchFamily="34" charset="0"/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custClrLst>
    <a:custClr name="Blue 2">
      <a:srgbClr val="D1EFFF"/>
    </a:custClr>
    <a:custClr name="Blue 4">
      <a:srgbClr val="89D1FF"/>
    </a:custClr>
    <a:custClr name="Blue 6">
      <a:srgbClr val="1B90FF"/>
    </a:custClr>
    <a:custClr name="Blue 7">
      <a:srgbClr val="0070F2"/>
    </a:custClr>
    <a:custClr name="Blue 10">
      <a:srgbClr val="002A86"/>
    </a:custClr>
    <a:custClr name="Blue 11">
      <a:srgbClr val="00144A"/>
    </a:custClr>
    <a:custClr name="Mango 2">
      <a:srgbClr val="FFF3B8"/>
    </a:custClr>
    <a:custClr name="Mango 4">
      <a:srgbClr val="FFC933"/>
    </a:custClr>
    <a:custClr name="Mango 6">
      <a:srgbClr val="E76500"/>
    </a:custClr>
    <a:custClr name="Mango 7">
      <a:srgbClr val="C35500"/>
    </a:custClr>
    <a:custClr name="Mango 10">
      <a:srgbClr val="6D1900"/>
    </a:custClr>
    <a:custClr name="Mango 11">
      <a:srgbClr val="450B00"/>
    </a:custClr>
    <a:custClr name="Teal 2">
      <a:srgbClr val="C2FCEE"/>
    </a:custClr>
    <a:custClr name="Teal 4">
      <a:srgbClr val="2CE0BF"/>
    </a:custClr>
    <a:custClr name="Teal 6">
      <a:srgbClr val="049F9A"/>
    </a:custClr>
    <a:custClr name="Teal 7">
      <a:srgbClr val="07838F"/>
    </a:custClr>
    <a:custClr name="Teal 10">
      <a:srgbClr val="02414C"/>
    </a:custClr>
    <a:custClr name="Teal 11">
      <a:srgbClr val="012931"/>
    </a:custClr>
    <a:custClr name="Green 2">
      <a:srgbClr val="EBF5CB"/>
    </a:custClr>
    <a:custClr name="Green 4">
      <a:srgbClr val="97DD40"/>
    </a:custClr>
    <a:custClr name="Green 6">
      <a:srgbClr val="36A41D"/>
    </a:custClr>
    <a:custClr name="Green 7">
      <a:srgbClr val="188918"/>
    </a:custClr>
    <a:custClr name="Green 10">
      <a:srgbClr val="164323"/>
    </a:custClr>
    <a:custClr name="Green 11">
      <a:srgbClr val="0E2B16"/>
    </a:custClr>
    <a:custClr name="Red 2">
      <a:srgbClr val="FFD5EA"/>
    </a:custClr>
    <a:custClr name="Red 4">
      <a:srgbClr val="FF8CB2"/>
    </a:custClr>
    <a:custClr name="Red 6">
      <a:srgbClr val="EE3939"/>
    </a:custClr>
    <a:custClr name="Red 7">
      <a:srgbClr val="D20A0A"/>
    </a:custClr>
    <a:custClr name="Red 10">
      <a:srgbClr val="5A0404"/>
    </a:custClr>
    <a:custClr name="Red 11">
      <a:srgbClr val="350000"/>
    </a:custClr>
    <a:custClr name="Raspberry 2">
      <a:srgbClr val="FFDCE8"/>
    </a:custClr>
    <a:custClr name="Raspberry 4">
      <a:srgbClr val="FEADC8"/>
    </a:custClr>
    <a:custClr name="Raspberry 6">
      <a:srgbClr val="FA4F96"/>
    </a:custClr>
    <a:custClr name="Raspberry 7">
      <a:srgbClr val="DF1278"/>
    </a:custClr>
    <a:custClr name="Raspberry 10">
      <a:srgbClr val="71014B"/>
    </a:custClr>
    <a:custClr name="Raspberry 11">
      <a:srgbClr val="510136"/>
    </a:custClr>
    <a:custClr name="Pink 2">
      <a:srgbClr val="FFDCF3"/>
    </a:custClr>
    <a:custClr name="Pink 4">
      <a:srgbClr val="FF8AF0"/>
    </a:custClr>
    <a:custClr name="Pink 6">
      <a:srgbClr val="F31DED"/>
    </a:custClr>
    <a:custClr name="Pink 7">
      <a:srgbClr val="CC00DC"/>
    </a:custClr>
    <a:custClr name="Pink 10">
      <a:srgbClr val="510080"/>
    </a:custClr>
    <a:custClr name="Pink 11">
      <a:srgbClr val="28004A"/>
    </a:custClr>
    <a:custClr name="Indigo 2">
      <a:srgbClr val="E2D8FF"/>
    </a:custClr>
    <a:custClr name="Indigo 4">
      <a:srgbClr val="B894FF"/>
    </a:custClr>
    <a:custClr name="Indigo 6">
      <a:srgbClr val="7858FF"/>
    </a:custClr>
    <a:custClr name="Indigo 7">
      <a:srgbClr val="5D36FF"/>
    </a:custClr>
    <a:custClr name="Indigo 10">
      <a:srgbClr val="1C0C6E"/>
    </a:custClr>
    <a:custClr name="Indigo 11">
      <a:srgbClr val="0E0637"/>
    </a:custClr>
  </a:custClrLst>
  <a:extLst>
    <a:ext uri="{05A4C25C-085E-4340-85A3-A5531E510DB2}">
      <thm15:themeFamily xmlns:thm15="http://schemas.microsoft.com/office/thememl/2012/main" name="Presentation1" id="{55B81BDB-58CB-4201-BF21-44A37ED5EB87}" vid="{B6866D63-1A80-4754-A643-56E7499711D7}"/>
    </a:ext>
  </a:extLst>
</a:theme>
</file>

<file path=ppt/theme/theme5.xml><?xml version="1.0" encoding="utf-8"?>
<a:theme xmlns:a="http://schemas.openxmlformats.org/drawingml/2006/main" name="Office Theme">
  <a:themeElements>
    <a:clrScheme name="SAP_Colors2011_1.1">
      <a:dk1>
        <a:srgbClr val="000000"/>
      </a:dk1>
      <a:lt1>
        <a:srgbClr val="FFFFFF"/>
      </a:lt1>
      <a:dk2>
        <a:srgbClr val="0076CB"/>
      </a:dk2>
      <a:lt2>
        <a:srgbClr val="CCCCCC"/>
      </a:lt2>
      <a:accent1>
        <a:srgbClr val="F0AB00"/>
      </a:accent1>
      <a:accent2>
        <a:srgbClr val="666666"/>
      </a:accent2>
      <a:accent3>
        <a:srgbClr val="0076CB"/>
      </a:accent3>
      <a:accent4>
        <a:srgbClr val="4FB81C"/>
      </a:accent4>
      <a:accent5>
        <a:srgbClr val="E35500"/>
      </a:accent5>
      <a:accent6>
        <a:srgbClr val="760A85"/>
      </a:accent6>
      <a:hlink>
        <a:srgbClr val="666666"/>
      </a:hlink>
      <a:folHlink>
        <a:srgbClr val="CCCCCC"/>
      </a:folHlink>
    </a:clrScheme>
    <a:fontScheme name="SAP_Fonts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Blue 2">
      <a:srgbClr val="D1EFFF"/>
    </a:custClr>
  </a:custClrLst>
</a:theme>
</file>

<file path=ppt/theme/theme6.xml><?xml version="1.0" encoding="utf-8"?>
<a:theme xmlns:a="http://schemas.openxmlformats.org/drawingml/2006/main" name="Office Theme">
  <a:themeElements>
    <a:clrScheme name="SAP_Colors2011">
      <a:dk1>
        <a:srgbClr val="000000"/>
      </a:dk1>
      <a:lt1>
        <a:srgbClr val="FFFFFF"/>
      </a:lt1>
      <a:dk2>
        <a:srgbClr val="00AFE3"/>
      </a:dk2>
      <a:lt2>
        <a:srgbClr val="CCCCCC"/>
      </a:lt2>
      <a:accent1>
        <a:srgbClr val="FDB913"/>
      </a:accent1>
      <a:accent2>
        <a:srgbClr val="626366"/>
      </a:accent2>
      <a:accent3>
        <a:srgbClr val="0082C9"/>
      </a:accent3>
      <a:accent4>
        <a:srgbClr val="4BBE44"/>
      </a:accent4>
      <a:accent5>
        <a:srgbClr val="B1D249"/>
      </a:accent5>
      <a:accent6>
        <a:srgbClr val="80298F"/>
      </a:accent6>
      <a:hlink>
        <a:srgbClr val="04357B"/>
      </a:hlink>
      <a:folHlink>
        <a:srgbClr val="999999"/>
      </a:folHlink>
    </a:clrScheme>
    <a:fontScheme name="SAP_Fonts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Blue 2">
      <a:srgbClr val="D1EFFF"/>
    </a:custClr>
  </a:custClrLst>
</a:theme>
</file>

<file path=ppt/webextensions/_rels/taskpanes.xml.rels><?xml version='1.0' encoding='UTF-8' standalone='yes'?>
<Relationships xmlns="http://schemas.openxmlformats.org/package/2006/relationships"><Relationship Id="rId1" Type="http://schemas.microsoft.com/office/2011/relationships/webextension" Target="webextension1.xml"/><Relationship Id="rId2" Type="http://schemas.microsoft.com/office/2011/relationships/webextension" Target="webextension2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  <wetp:taskpane dockstate="right" visibility="0" width="350" row="0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D0FCFAFA-D3D3-1441-8101-DA629D03A5D9}">
  <we:reference id="b0692d11-e342-a550-cfba-e8c57e47b8f1" version="1.0.0.8" store="EXCatalog" storeType="EXCatalog"/>
  <we:alternateReferences/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E65AE667-A5F5-0F47-8627-5174A8B7EA47}">
  <we:reference id="b8d7a30b-109c-4c41-a1df-a6cb639730b5" version="2.0.0.5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5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6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7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38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8.xml"/></Relationships>
</file>

<file path=customXml/_rels/item39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9.xml"/></Relationships>
</file>

<file path=customXml/_rels/item4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40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0.xml"/></Relationships>
</file>

<file path=customXml/_rels/item4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1.xml"/></Relationships>
</file>

<file path=customXml/_rels/item4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2.xml"/></Relationships>
</file>

<file path=customXml/_rels/item4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3.xml"/></Relationships>
</file>

<file path=customXml/_rels/item44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4.xml"/></Relationships>
</file>

<file path=customXml/_rels/item45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5.xml"/></Relationships>
</file>

<file path=customXml/_rels/item46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6.xml"/></Relationships>
</file>

<file path=customXml/_rels/item47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7.xml"/></Relationships>
</file>

<file path=customXml/_rels/item48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8.xml"/></Relationships>
</file>

<file path=customXml/_rels/item49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9.xml"/></Relationships>
</file>

<file path=customXml/_rels/item5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50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50.xml"/></Relationships>
</file>

<file path=customXml/_rels/item5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51.xml"/></Relationships>
</file>

<file path=customXml/_rels/item6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TemplateConfiguration><![CDATA[{"slideVersion":2,"isValidatorEnabled":false,"isLocked":false,"elementsMetadata":[],"slideId":"638373043998151196","enableDocumentContentUpdater":false,"version":"2.0"}]]></TemplafySlideTemplateConfiguration>
</file>

<file path=customXml/item10.xml><?xml version="1.0" encoding="utf-8"?>
<TemplafySlideTemplateConfiguration><![CDATA[{"slideVersion":2,"isValidatorEnabled":false,"isLocked":false,"elementsMetadata":[],"slideId":"638373043998050859","enableDocumentContentUpdater":false,"version":"2.0"}]]></TemplafySlideTemplateConfiguration>
</file>

<file path=customXml/item11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12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13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14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inheritDimensions":"{{InheritDimensions.InheritNone}}","width":"","height":"1 cm","image":"{{Form.SAPLogo.SubbrandBlue}}","visibility":"","type":"image","disableUpdates":false}},{"type":"shape","elementConfiguration":{"binding":"{{Form.Classification.Display}}","visibility":"","type":"text","disableUpdates":false}}],"slideId":"638331234102843511","enableDocumentContentUpdater":false,"version":"2.0"}]]></TemplafySlideTemplateConfiguration>
</file>

<file path=customXml/item15.xml><?xml version="1.0" encoding="utf-8"?>
<TemplafySlideFormConfiguration><![CDATA[{"formFields":[],"formDataEntries":[]}]]></TemplafySlideFormConfiguration>
</file>

<file path=customXml/item16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1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e4b7787-f155-484c-a6ed-faacc4d6ea8a" xsi:nil="true"/>
    <lcf76f155ced4ddcb4097134ff3c332f xmlns="76410bfa-c465-4282-9437-cb33276387d7">
      <Terms xmlns="http://schemas.microsoft.com/office/infopath/2007/PartnerControls"/>
    </lcf76f155ced4ddcb4097134ff3c332f>
  </documentManagement>
</p:properties>
</file>

<file path=customXml/item18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inheritDimensions":"{{InheritDimensions.InheritNone}}","width":"","height":"1 cm","image":"{{Form.SAPLogo.SubbrandWhite}}","visibility":"","type":"image","disableUpdates":false}},{"type":"shape","elementConfiguration":{"binding":"{{Form.Classification.Display}}","visibility":"","type":"text","disableUpdates":false}}],"slideId":"638331234102776925","enableDocumentContentUpdater":false,"version":"2.0"}]]></TemplafySlideTemplateConfiguration>
</file>

<file path=customXml/item19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binding":"{{Form.Classification.Display}}","visibility":"","type":"text","disableUpdates":false}},{"type":"shape","elementConfiguration":{"inheritDimensions":"{{InheritDimensions.InheritNone}}","width":"","height":"1 cm","image":"{{Form.SAPLogo.SubbrandBlack}}","visibility":"","type":"image","disableUpdates":false}}],"slideId":"638331234102547405","enableDocumentContentUpdater":false,"version":"2.0"}]]></TemplafySlideTemplateConfiguration>
</file>

<file path=customXml/item2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20.xml><?xml version="1.0" encoding="utf-8"?>
<TemplafySlideFormConfiguration><![CDATA[{"formFields":[],"formDataEntries":[]}]]></TemplafySlideFormConfiguration>
</file>

<file path=customXml/item21.xml><?xml version="1.0" encoding="utf-8"?>
<TemplafySlideFormConfiguration><![CDATA[{"formFields":[],"formDataEntries":[]}]]></TemplafySlideFormConfiguration>
</file>

<file path=customXml/item22.xml><?xml version="1.0" encoding="utf-8"?>
<TemplafySlideFormConfiguration><![CDATA[{"formFields":[],"formDataEntries":[]}]]></TemplafySlideFormConfiguration>
</file>

<file path=customXml/item2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4.xml><?xml version="1.0" encoding="utf-8"?>
<TemplafySlideFormConfiguration><![CDATA[{"formFields":[],"formDataEntries":[]}]]></TemplafySlideFormConfiguration>
</file>

<file path=customXml/item25.xml><?xml version="1.0" encoding="utf-8"?>
<TemplafySlideFormConfiguration><![CDATA[{"formFields":[],"formDataEntries":[]}]]></TemplafySlideFormConfiguration>
</file>

<file path=customXml/item26.xml><?xml version="1.0" encoding="utf-8"?>
<TemplafySlideFormConfiguration><![CDATA[{"formFields":[],"formDataEntries":[]}]]></TemplafySlideFormConfiguration>
</file>

<file path=customXml/item27.xml><?xml version="1.0" encoding="utf-8"?>
<TemplafySlideFormConfiguration><![CDATA[{"formFields":[],"formDataEntries":[]}]]></TemplafySlideFormConfiguration>
</file>

<file path=customXml/item28.xml><?xml version="1.0" encoding="utf-8"?>
<TemplafySlideTemplateConfiguration><![CDATA[{"slideVersion":3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],"slideId":"638315639972988716","enableDocumentContentUpdater":false,"version":"2.0"}]]></TemplafySlideTemplateConfiguration>
</file>

<file path=customXml/item29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3.xml><?xml version="1.0" encoding="utf-8"?>
<TemplafySlideFormConfiguration><![CDATA[{"formFields":[],"formDataEntries":[]}]]></TemplafySlideFormConfiguration>
</file>

<file path=customXml/item30.xml><?xml version="1.0" encoding="utf-8"?>
<TemplafySlideTemplateConfiguration><![CDATA[{"slideVersion":2,"isValidatorEnabled":false,"isLocked":false,"elementsMetadata":[],"slideId":"638373043998113631","enableDocumentContentUpdater":false,"version":"2.0"}]]></TemplafySlideTemplateConfiguration>
</file>

<file path=customXml/item31.xml><?xml version="1.0" encoding="utf-8"?>
<TemplafySlideFormConfiguration><![CDATA[{"formFields":[],"formDataEntries":[]}]]></TemplafySlideFormConfiguration>
</file>

<file path=customXml/item32.xml><?xml version="1.0" encoding="utf-8"?>
<TemplafySlideFormConfiguration><![CDATA[{"formFields":[],"formDataEntries":[]}]]></TemplafySlideFormConfiguration>
</file>

<file path=customXml/item33.xml><?xml version="1.0" encoding="utf-8"?>
<TemplafySlideFormConfiguration><![CDATA[{"formFields":[],"formDataEntries":[]}]]></TemplafySlideFormConfiguration>
</file>

<file path=customXml/item34.xml><?xml version="1.0" encoding="utf-8"?>
<TemplafySlideTemplateConfiguration><![CDATA[{"slideVersion":2,"isValidatorEnabled":false,"isLocked":false,"elementsMetadata":[],"slideId":"638373043998191062","enableDocumentContentUpdater":false,"version":"2.0"}]]></TemplafySlideTemplateConfiguration>
</file>

<file path=customXml/item35.xml><?xml version="1.0" encoding="utf-8"?>
<TemplafySlideTemplateConfiguration><![CDATA[{"slideVersion":4,"isValidatorEnabled":false,"isLocked":false,"elementsMetadata":[],"slideId":"638315636856348256","enableDocumentContentUpdater":false,"version":"2.0"}]]></TemplafySlideTemplateConfiguration>
</file>

<file path=customXml/item36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CD2AF1DA3F8FF4FA6C2645C43C2AC01" ma:contentTypeVersion="10" ma:contentTypeDescription="Ein neues Dokument erstellen." ma:contentTypeScope="" ma:versionID="8e56428985043cb2aff47f5e3c9c04b8">
  <xsd:schema xmlns:xsd="http://www.w3.org/2001/XMLSchema" xmlns:xs="http://www.w3.org/2001/XMLSchema" xmlns:p="http://schemas.microsoft.com/office/2006/metadata/properties" xmlns:ns2="76410bfa-c465-4282-9437-cb33276387d7" xmlns:ns3="2e4b7787-f155-484c-a6ed-faacc4d6ea8a" targetNamespace="http://schemas.microsoft.com/office/2006/metadata/properties" ma:root="true" ma:fieldsID="dded2dde737277573d4993fc2bab9382" ns2:_="" ns3:_="">
    <xsd:import namespace="76410bfa-c465-4282-9437-cb33276387d7"/>
    <xsd:import namespace="2e4b7787-f155-484c-a6ed-faacc4d6ea8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410bfa-c465-4282-9437-cb33276387d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Bildmarkierungen" ma:readOnly="false" ma:fieldId="{5cf76f15-5ced-4ddc-b409-7134ff3c332f}" ma:taxonomyMulti="true" ma:sspId="4debb949-be09-4628-8a5e-97009452ba1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4b7787-f155-484c-a6ed-faacc4d6ea8a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19d2eb87-e541-4894-8197-ae1b607c058e}" ma:internalName="TaxCatchAll" ma:showField="CatchAllData" ma:web="2e4b7787-f155-484c-a6ed-faacc4d6ea8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7.xml><?xml version="1.0" encoding="utf-8"?>
<Templafy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,{"required":false,"placeholder":"","lines":1,"defaultValue":"{{UserProfile.Email}}","shareValue":false,"type":"textBox","name":"Email","label":"Email"}],"formDataEntries":[{"name":"SAPLogo","value":"pxB0tb4qiCEYCgGk2fAV86fXsKRk9ZMKiRC3VaLJ5C8="},{"name":"Classification","value":"OmrOP8d402txjl1Zr787gUA6bTWeMdaxGEF9U5BKD64="},{"name":"SpeakerName","value":"YnPwfaWtJd9yqRikMcavEg=="},{"name":"Email","value":"v35+JSpO6F5yjM5PrFdVwQ=="}]}]]></TemplafyFormConfiguration>
</file>

<file path=customXml/item38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39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4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40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41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inheritDimensions":"{{InheritDimensions.InheritNone}}","width":"","height":"1 cm","image":"{{Form.SAPLogo.SubbrandWhite}}","visibility":"","type":"image","disableUpdates":false}},{"type":"shape","elementConfiguration":{"binding":"{{Form.Classification.Display}}","visibility":"","type":"text","disableUpdates":false}}],"slideId":"638331234102430701","enableDocumentContentUpdater":false,"version":"2.0"}]]></TemplafySlideTemplateConfiguration>
</file>

<file path=customXml/item42.xml><?xml version="1.0" encoding="utf-8"?>
<TemplafySlideTemplateConfiguration><![CDATA[{"slideVersion":2,"isValidatorEnabled":false,"isLocked":false,"elementsMetadata":[{"type":"shape","elementConfiguration":{"binding":"{{Form.SpeakerName}}","type":"text","disableUpdates":false}},{"type":"shape","elementConfiguration":{"binding":"{{Form.Email}}","type":"text","disableUpdates":false}},{"type":"shape","elementConfiguration":{"binding":"{{DataSources.PPTCopyRight[\"Slide 5 copyright\"].CopyrightMessage}}","visibility":"","type":"text","disableUpdates":false}}],"slideId":"638331234103056874","enableDocumentContentUpdater":false,"version":"2.0"}]]></TemplafySlideTemplateConfiguration>
</file>

<file path=customXml/item43.xml><?xml version="1.0" encoding="utf-8"?>
<TemplafySlideFormConfiguration><![CDATA[{"formFields":[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44.xml><?xml version="1.0" encoding="utf-8"?>
<TemplafySlideFormConfiguration><![CDATA[{"formFields":[],"formDataEntries":[]}]]></TemplafySlideFormConfiguration>
</file>

<file path=customXml/item45.xml><?xml version="1.0" encoding="utf-8"?>
<TemplafyTemplateConfiguration><![CDATA[{"elementsMetadata":[{"type":"shape","id":"8960db9f-55d6-4683-a7ef-5191a33a6538","elementConfiguration":{"binding":"{{ DataSources.Classification[Form.Classification.Name].Display}}","type":"text","disableUpdates":false}},{"type":"shape","id":"2adb6e73-401a-40c8-920f-314d5e045a9a","elementConfiguration":{"inheritDimensions":"{{InheritDimensions.InheritNone}}","width":"","height":"1 cm","image":"{{Form.SAPLogo.SubbrandBlue}}","visibility":"","type":"image","disableUpdates":false}},{"type":"shape","id":"19fd4b9e-aabf-4332-9e0c-96b627a7d3e6","elementConfiguration":{"binding":"{{Form.Classification.Display}}","visibility":"","type":"text","disableUpdates":false}},{"type":"shape","id":"aa57b900-42ee-45e2-901d-a9c467b9898a","elementConfiguration":{"binding":"{{Form.Classification.Display}}","visibility":"","type":"text","disableUpdates":false}},{"type":"shape","id":"690c104f-7e65-48cd-94b6-5b4d27d0d6fb","elementConfiguration":{"inheritDimensions":"{{InheritDimensions.InheritNone}}","width":"","height":"1 cm","image":"{{Form.SAPLogo.SubbrandBlack}}","visibility":"","type":"image","disableUpdates":false}},{"type":"shape","id":"ae30ed49-76db-405c-8e79-7aba1a001200","elementConfiguration":{"inheritDimensions":"{{InheritDimensions.InheritNone}}","width":"","height":"1 cm","image":"{{Form.SAPLogo.SubbrandWhite}}","visibility":"","type":"image","disableUpdates":false}},{"type":"shape","id":"c0ba914e-4f09-45b0-9f6c-35c8b490f42b","elementConfiguration":{"binding":"{{Form.Classification.Display}}","visibility":"","type":"text","disableUpdates":false}},{"type":"shape","id":"e1ff4155-3db1-4bbb-85a7-437eca614c8d","elementConfiguration":{"inheritDimensions":"{{InheritDimensions.InheritNone}}","width":"","height":"1 cm","image":"{{Form.SAPLogo.SubbrandBlue}}","visibility":"","type":"image","disableUpdates":false}},{"type":"shape","id":"1400d254-c5b0-49a9-bbba-c97223cc9af9","elementConfiguration":{"binding":"{{Form.Classification.Display}}","visibility":"","type":"text","disableUpdates":false}},{"type":"shape","id":"9dd02216-58b9-48cc-95b4-a4fb4fb97416","elementConfiguration":{"inheritDimensions":"{{InheritDimensions.InheritNone}}","width":"","height":"1 cm","image":"{{Form.SAPLogo.SubbrandBlue}}","visibility":"","type":"image","disableUpdates":false}},{"type":"shape","id":"17904262-8e98-4143-ba28-5ffff2b9dc57","elementConfiguration":{"binding":"{{Form.Classification.Display}}","visibility":"","type":"text","disableUpdates":false}},{"type":"shape","id":"24dda641-0340-42fc-b199-54e3bbe1e6c5","elementConfiguration":{"inheritDimensions":"{{InheritDimensions.InheritNone}}","width":"","height":"1 cm","image":"{{Form.SAPLogo.SubbrandBlue}}","visibility":"","type":"image","disableUpdates":false}},{"type":"shape","id":"99d85a1f-5caa-4f35-b7df-eb9703c96eda","elementConfiguration":{"binding":"{{Form.Classification.Display}}","visibility":"","type":"text","disableUpdates":false}},{"type":"shape","id":"bf92befa-b263-4404-9fe3-ef1335ee58ca","elementConfiguration":{"inheritDimensions":"{{InheritDimensions.InheritNone}}","width":"","height":"1 cm","image":"{{Form.SAPLogo.SubbrandWhite}}","visibility":"","type":"image","disableUpdates":false}},{"type":"shape","id":"ebe7628e-813a-484c-8017-e91ee33b1f2a","elementConfiguration":{"binding":"{{Form.Classification.Display}}","visibility":"","type":"text","disableUpdates":false}},{"type":"shape","id":"68c8689a-7a81-470c-8a82-d35a6ccb8b77","elementConfiguration":{"binding":"{{DataSources.PPTCopyRight[\"Slide 5 copyright\"].CopyrightMessage}}","visibility":"","type":"text","disableUpdates":false}},{"type":"shape","id":"787d00a1-4cac-4b81-b637-a99274574ec4","elementConfiguration":{"inheritDimensions":"{{InheritDimensions.InheritNone}}","width":"","height":"1 cm","image":"{{Form.SAPLogo.SubbrandBlack}}","visibility":"","type":"image","disableUpdates":false}},{"type":"shape","id":"ad4994d4-76c3-4624-9265-4ebe8c04ee95","elementConfiguration":{"binding":"{{Form.Classification.Display}}","visibility":"","type":"text","disableUpdates":false}},{"type":"shape","id":"f311321f-6dec-468e-bf1d-41970cf5b78d","elementConfiguration":{"inheritDimensions":"{{InheritDimensions.InheritNone}}","width":"","height":"1 cm","image":"{{Form.SAPLogo.SubbrandWhite}}","visibility":"","type":"image","disableUpdates":false}},{"type":"shape","id":"34991d23-440a-47c2-bb45-be4011253002","elementConfiguration":{"binding":"{{Form.Classification.Display}}","visibility":"","type":"text","disableUpdates":false}},{"type":"shape","id":"782e938b-415a-44f4-8cb8-5e36a066287a","elementConfiguration":{"inheritDimensions":"{{InheritDimensions.InheritNone}}","width":"","height":"1 cm","image":"{{Form.SAPLogo.SubbrandBlack}}","visibility":"","type":"image","disableUpdates":false}},{"type":"shape","id":"5343c1ce-9339-4eea-a569-6763265abadc","elementConfiguration":{"binding":"{{Form.Classification.Display}}","visibility":"","type":"text","disableUpdates":false}},{"type":"shape","id":"a0444597-b454-4b66-be2a-62ce43b21692","elementConfiguration":{"inheritDimensions":"{{InheritDimensions.InheritNone}}","width":"","height":"1 cm","image":"{{Form.SAPLogo.SubbrandWhite}}","visibility":"","type":"image","disableUpdates":false}},{"type":"shape","id":"a16dfd42-0de3-46c7-a276-e906e46a8fb7","elementConfiguration":{"binding":"{{Form.Classification.Display}}","visibility":"","type":"text","disableUpdates":false}},{"type":"shape","id":"468cc11e-ebc9-42f4-be65-89cdfb44a347","elementConfiguration":{"inheritDimensions":"{{InheritDimensions.InheritNone}}","width":"","height":"1 cm","image":"{{Form.SAPLogo.SubbrandWhite}}","visibility":"","type":"image","disableUpdates":false}},{"type":"shape","id":"b798b046-f929-4909-a836-5f798d360ff5","elementConfiguration":{"binding":"{{Form.Classification.Display}}","visibility":"","type":"text","disableUpdates":false}},{"type":"shape","id":"73d999c3-30d6-4815-9178-e4bc1b50a492","elementConfiguration":{"binding":"{{StringJoin(\", \", Form.SpeakerName,\"SAP\")}}","type":"text","disableUpdates":false}},{"type":"shape","id":"1ae0d7ba-d803-47d6-a92f-c6b9411fc9f0","elementConfiguration":{"binding":"{{FormatDateTime(Form.Date,\"MMMM dd, yyyy\",\"en-US\")}}","type":"text","disableUpdates":false}},{"type":"shape","id":"47c84c94-0c51-4409-929e-f15ca0f76421","elementConfiguration":{"binding":"{{StringJoin(\", \", Form.SpeakerName,\"SAP\")}}","type":"text","disableUpdates":false}},{"type":"shape","id":"ebaf9e08-bece-45c2-a543-72508166c2be","elementConfiguration":{"binding":"{{FormatDateTime(Form.Date,\"MMMM dd, yyyy\",\"en-US\")}}","type":"text","disableUpdates":false}},{"type":"shape","id":"7a28a387-32db-4849-9201-6a61174469d1","elementConfiguration":{"binding":"{{StringJoin(\", \", Form.SpeakerName,\"SAP\")}}","type":"text","disableUpdates":false}},{"type":"shape","id":"0f01bfee-ce03-41cc-abea-b070a2f7b356","elementConfiguration":{"binding":"{{FormatDateTime(Form.Date,\"MMMM dd, yyyy\",\"en-US\")}}","type":"text","disableUpdates":false}},{"type":"shape","id":"5f8b55cd-a22d-4fec-aea9-0183a672ce20","elementConfiguration":{"binding":"{{StringJoin(\", \", Form.SpeakerName,\"SAP\")}}","type":"text","disableUpdates":false}},{"type":"shape","id":"7c99c286-6331-44f9-acc1-8ed27bf5c877","elementConfiguration":{"binding":"{{FormatDateTime(Form.Date,\"MMMM dd, yyyy\",\"en-US\")}}","type":"text","disableUpdates":false}},{"type":"shape","id":"9730fde8-cdcf-421a-97ef-1d5c98c42d83","elementConfiguration":{"binding":"{{StringJoin(\", \", Form.SpeakerName,\"SAP\")}}","type":"text","disableUpdates":false}},{"type":"shape","id":"be291712-808f-4c05-a4b9-16c098d589f0","elementConfiguration":{"binding":"{{FormatDateTime(Form.Date,\"MMMM dd, yyyy\",\"en-US\")}}","type":"text","disableUpdates":false}},{"type":"shape","id":"cb00d6b1-ca10-46e6-abd8-5f3adf2e343e","elementConfiguration":{"binding":"{{StringJoin(\", \", Form.SpeakerName,\"SAP\")}}","type":"text","disableUpdates":false}},{"type":"shape","id":"6a382710-a43a-4adc-ae49-0e561e1b5d14","elementConfiguration":{"binding":"{{FormatDateTime(Form.Date,\"MMMM dd, yyyy\",\"en-US\")}}","type":"text","disableUpdates":false}},{"type":"shape","id":"08f98063-58c1-4020-b28b-315bf93619ea","elementConfiguration":{"binding":"{{Form.SpeakerName}}","type":"text","disableUpdates":false}},{"type":"shape","id":"29692919-c00f-40b6-84c5-5d5a75f76ab7","elementConfiguration":{"binding":"{{Form.Email}}","type":"text","disableUpdates":false}}],"transformationConfigurations":[],"templateName":"SAP Template NEW","templateDescription":"Spelling issue solved","enableDocumentContentUpdater":true,"version":"2.0"}]]></TemplafyTemplateConfiguration>
</file>

<file path=customXml/item46.xml><?xml version="1.0" encoding="utf-8"?>
<TemplafySlideTemplateConfiguration><![CDATA[{"slideVersion":1,"isValidatorEnabled":false,"isLocked":false,"elementsMetadata":[],"slideId":"637867244053543411","enableDocumentContentUpdater":false,"version":"2.0"}]]></TemplafySlideTemplateConfiguration>
</file>

<file path=customXml/item47.xml><?xml version="1.0" encoding="utf-8"?>
<TemplafySlideFormConfiguration><![CDATA[{"formFields":[],"formDataEntries":[]}]]></TemplafySlideFormConfiguration>
</file>

<file path=customXml/item48.xml><?xml version="1.0" encoding="utf-8"?>
<TemplafySlideFormConfiguration><![CDATA[{"formFields":[],"formDataEntries":[]}]]></TemplafySlideFormConfiguration>
</file>

<file path=customXml/item49.xml><?xml version="1.0" encoding="utf-8"?>
<TemplafySlideFormConfiguration><![CDATA[{"formFields":[],"formDataEntries":[]}]]></TemplafySlideFormConfiguration>
</file>

<file path=customXml/item5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50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51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6.xml><?xml version="1.0" encoding="utf-8"?>
<TemplafySlideFormConfiguration><![CDATA[{"formFields":[],"formDataEntries":[]}]]></TemplafySlideFormConfiguration>
</file>

<file path=customXml/item7.xml><?xml version="1.0" encoding="utf-8"?>
<TemplafySlideFormConfiguration><![CDATA[{"formFields":[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,{"required":false,"placeholder":"","lines":1,"defaultValue":"{{UserProfile.Email}}","shareValue":false,"type":"textBox","name":"Email","label":"Email"}],"formDataEntries":[]}]]></TemplafySlideFormConfiguration>
</file>

<file path=customXml/item8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9.xml><?xml version="1.0" encoding="utf-8"?>
<TemplafySlideTemplateConfiguration><![CDATA[{"slideVersion":2,"isValidatorEnabled":false,"isLocked":false,"elementsMetadata":[],"slideId":"638373043998050859","enableDocumentContentUpdater":false,"version":"2.0"}]]></TemplafySlideTemplateConfiguration>
</file>

<file path=customXml/itemProps1.xml><?xml version="1.0" encoding="utf-8"?>
<ds:datastoreItem xmlns:ds="http://schemas.openxmlformats.org/officeDocument/2006/customXml" ds:itemID="{9C3868F0-118E-4F4D-99EC-60B093FD1E00}">
  <ds:schemaRefs/>
</ds:datastoreItem>
</file>

<file path=customXml/itemProps10.xml><?xml version="1.0" encoding="utf-8"?>
<ds:datastoreItem xmlns:ds="http://schemas.openxmlformats.org/officeDocument/2006/customXml" ds:itemID="{793AE96A-37D6-4971-A9A5-8EA3F2B2BD93}">
  <ds:schemaRefs/>
</ds:datastoreItem>
</file>

<file path=customXml/itemProps11.xml><?xml version="1.0" encoding="utf-8"?>
<ds:datastoreItem xmlns:ds="http://schemas.openxmlformats.org/officeDocument/2006/customXml" ds:itemID="{475AB362-7E2C-4295-A530-7B284247BFC6}">
  <ds:schemaRefs/>
</ds:datastoreItem>
</file>

<file path=customXml/itemProps12.xml><?xml version="1.0" encoding="utf-8"?>
<ds:datastoreItem xmlns:ds="http://schemas.openxmlformats.org/officeDocument/2006/customXml" ds:itemID="{623ADE88-F3B4-4857-B6D7-BE3D1452E97C}">
  <ds:schemaRefs/>
</ds:datastoreItem>
</file>

<file path=customXml/itemProps13.xml><?xml version="1.0" encoding="utf-8"?>
<ds:datastoreItem xmlns:ds="http://schemas.openxmlformats.org/officeDocument/2006/customXml" ds:itemID="{E1E2A403-39C3-4FC8-B841-41CD46EF1E37}">
  <ds:schemaRefs/>
</ds:datastoreItem>
</file>

<file path=customXml/itemProps14.xml><?xml version="1.0" encoding="utf-8"?>
<ds:datastoreItem xmlns:ds="http://schemas.openxmlformats.org/officeDocument/2006/customXml" ds:itemID="{CD69D8E4-3079-0947-A87B-18CDAB899542}">
  <ds:schemaRefs/>
</ds:datastoreItem>
</file>

<file path=customXml/itemProps15.xml><?xml version="1.0" encoding="utf-8"?>
<ds:datastoreItem xmlns:ds="http://schemas.openxmlformats.org/officeDocument/2006/customXml" ds:itemID="{15EC2061-1F13-4DC6-B9C2-B24883664942}">
  <ds:schemaRefs/>
</ds:datastoreItem>
</file>

<file path=customXml/itemProps16.xml><?xml version="1.0" encoding="utf-8"?>
<ds:datastoreItem xmlns:ds="http://schemas.openxmlformats.org/officeDocument/2006/customXml" ds:itemID="{184FDB0B-513E-4564-83E3-30C2A67FA462}">
  <ds:schemaRefs/>
</ds:datastoreItem>
</file>

<file path=customXml/itemProps17.xml><?xml version="1.0" encoding="utf-8"?>
<ds:datastoreItem xmlns:ds="http://schemas.openxmlformats.org/officeDocument/2006/customXml" ds:itemID="{C1422F45-04DB-421D-8796-270006657806}">
  <ds:schemaRefs>
    <ds:schemaRef ds:uri="2e4b7787-f155-484c-a6ed-faacc4d6ea8a"/>
    <ds:schemaRef ds:uri="4e4a4d3c-2afd-4247-8751-c4aa3e783882"/>
    <ds:schemaRef ds:uri="76410bfa-c465-4282-9437-cb33276387d7"/>
    <ds:schemaRef ds:uri="b2cc75a2-af32-44d4-85b5-598d8dc2ada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8.xml><?xml version="1.0" encoding="utf-8"?>
<ds:datastoreItem xmlns:ds="http://schemas.openxmlformats.org/officeDocument/2006/customXml" ds:itemID="{BE35CB75-D316-A442-AF6F-E30B686305AD}">
  <ds:schemaRefs/>
</ds:datastoreItem>
</file>

<file path=customXml/itemProps19.xml><?xml version="1.0" encoding="utf-8"?>
<ds:datastoreItem xmlns:ds="http://schemas.openxmlformats.org/officeDocument/2006/customXml" ds:itemID="{3B62FFE9-ED73-4F57-B7FD-1898883AC30C}">
  <ds:schemaRefs/>
</ds:datastoreItem>
</file>

<file path=customXml/itemProps2.xml><?xml version="1.0" encoding="utf-8"?>
<ds:datastoreItem xmlns:ds="http://schemas.openxmlformats.org/officeDocument/2006/customXml" ds:itemID="{F7A688B5-CEE6-4F55-B294-130EFC5DB101}">
  <ds:schemaRefs/>
</ds:datastoreItem>
</file>

<file path=customXml/itemProps20.xml><?xml version="1.0" encoding="utf-8"?>
<ds:datastoreItem xmlns:ds="http://schemas.openxmlformats.org/officeDocument/2006/customXml" ds:itemID="{8682EF99-B695-484F-8968-7BFAD92BDA4A}">
  <ds:schemaRefs/>
</ds:datastoreItem>
</file>

<file path=customXml/itemProps21.xml><?xml version="1.0" encoding="utf-8"?>
<ds:datastoreItem xmlns:ds="http://schemas.openxmlformats.org/officeDocument/2006/customXml" ds:itemID="{7A474179-D5E4-437A-B70C-9919B93CA02F}">
  <ds:schemaRefs/>
</ds:datastoreItem>
</file>

<file path=customXml/itemProps22.xml><?xml version="1.0" encoding="utf-8"?>
<ds:datastoreItem xmlns:ds="http://schemas.openxmlformats.org/officeDocument/2006/customXml" ds:itemID="{48165AA7-FCD4-45E8-91C2-2E8798F7DA7A}">
  <ds:schemaRefs/>
</ds:datastoreItem>
</file>

<file path=customXml/itemProps23.xml><?xml version="1.0" encoding="utf-8"?>
<ds:datastoreItem xmlns:ds="http://schemas.openxmlformats.org/officeDocument/2006/customXml" ds:itemID="{291DCB28-1C52-4C0E-804A-6BD2D3F0FB8D}">
  <ds:schemaRefs>
    <ds:schemaRef ds:uri="http://schemas.microsoft.com/sharepoint/v3/contenttype/forms"/>
  </ds:schemaRefs>
</ds:datastoreItem>
</file>

<file path=customXml/itemProps24.xml><?xml version="1.0" encoding="utf-8"?>
<ds:datastoreItem xmlns:ds="http://schemas.openxmlformats.org/officeDocument/2006/customXml" ds:itemID="{92690E7D-4F9F-4E12-9E4E-BAEC04D5A7CC}">
  <ds:schemaRefs/>
</ds:datastoreItem>
</file>

<file path=customXml/itemProps25.xml><?xml version="1.0" encoding="utf-8"?>
<ds:datastoreItem xmlns:ds="http://schemas.openxmlformats.org/officeDocument/2006/customXml" ds:itemID="{5205743A-69BE-4083-94E2-7B4DB7E3C7E8}">
  <ds:schemaRefs/>
</ds:datastoreItem>
</file>

<file path=customXml/itemProps26.xml><?xml version="1.0" encoding="utf-8"?>
<ds:datastoreItem xmlns:ds="http://schemas.openxmlformats.org/officeDocument/2006/customXml" ds:itemID="{D06AD3D1-7FF9-4536-AD60-A17870F90738}">
  <ds:schemaRefs/>
</ds:datastoreItem>
</file>

<file path=customXml/itemProps27.xml><?xml version="1.0" encoding="utf-8"?>
<ds:datastoreItem xmlns:ds="http://schemas.openxmlformats.org/officeDocument/2006/customXml" ds:itemID="{935C6D9D-19E8-4631-A552-DB446407D2A4}">
  <ds:schemaRefs/>
</ds:datastoreItem>
</file>

<file path=customXml/itemProps28.xml><?xml version="1.0" encoding="utf-8"?>
<ds:datastoreItem xmlns:ds="http://schemas.openxmlformats.org/officeDocument/2006/customXml" ds:itemID="{D505826A-FD3B-4FAC-9437-FB4AF9F44F1B}">
  <ds:schemaRefs/>
</ds:datastoreItem>
</file>

<file path=customXml/itemProps29.xml><?xml version="1.0" encoding="utf-8"?>
<ds:datastoreItem xmlns:ds="http://schemas.openxmlformats.org/officeDocument/2006/customXml" ds:itemID="{23FA4614-B246-4ED4-A39C-2DEE012E4E41}">
  <ds:schemaRefs/>
</ds:datastoreItem>
</file>

<file path=customXml/itemProps3.xml><?xml version="1.0" encoding="utf-8"?>
<ds:datastoreItem xmlns:ds="http://schemas.openxmlformats.org/officeDocument/2006/customXml" ds:itemID="{12438972-7D18-4481-AF51-532E67A63E1E}">
  <ds:schemaRefs/>
</ds:datastoreItem>
</file>

<file path=customXml/itemProps30.xml><?xml version="1.0" encoding="utf-8"?>
<ds:datastoreItem xmlns:ds="http://schemas.openxmlformats.org/officeDocument/2006/customXml" ds:itemID="{47E12206-FAC1-4A56-A73A-215CACDF02F8}">
  <ds:schemaRefs/>
</ds:datastoreItem>
</file>

<file path=customXml/itemProps31.xml><?xml version="1.0" encoding="utf-8"?>
<ds:datastoreItem xmlns:ds="http://schemas.openxmlformats.org/officeDocument/2006/customXml" ds:itemID="{C2AC838F-3192-4042-96C7-6D081523F5A1}">
  <ds:schemaRefs/>
</ds:datastoreItem>
</file>

<file path=customXml/itemProps32.xml><?xml version="1.0" encoding="utf-8"?>
<ds:datastoreItem xmlns:ds="http://schemas.openxmlformats.org/officeDocument/2006/customXml" ds:itemID="{1EC17535-8D28-4922-81E0-ECD6F4BFCC98}">
  <ds:schemaRefs/>
</ds:datastoreItem>
</file>

<file path=customXml/itemProps33.xml><?xml version="1.0" encoding="utf-8"?>
<ds:datastoreItem xmlns:ds="http://schemas.openxmlformats.org/officeDocument/2006/customXml" ds:itemID="{7EE19871-72D1-4A79-AC35-D7B297494921}">
  <ds:schemaRefs/>
</ds:datastoreItem>
</file>

<file path=customXml/itemProps34.xml><?xml version="1.0" encoding="utf-8"?>
<ds:datastoreItem xmlns:ds="http://schemas.openxmlformats.org/officeDocument/2006/customXml" ds:itemID="{2346D7F6-9001-43CB-BA55-744322C55379}">
  <ds:schemaRefs/>
</ds:datastoreItem>
</file>

<file path=customXml/itemProps35.xml><?xml version="1.0" encoding="utf-8"?>
<ds:datastoreItem xmlns:ds="http://schemas.openxmlformats.org/officeDocument/2006/customXml" ds:itemID="{6638E641-279B-4AC7-A8AC-1DE9953C4894}">
  <ds:schemaRefs/>
</ds:datastoreItem>
</file>

<file path=customXml/itemProps36.xml><?xml version="1.0" encoding="utf-8"?>
<ds:datastoreItem xmlns:ds="http://schemas.openxmlformats.org/officeDocument/2006/customXml" ds:itemID="{A8C86873-C3B0-400F-A41A-700C85C5A50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6410bfa-c465-4282-9437-cb33276387d7"/>
    <ds:schemaRef ds:uri="2e4b7787-f155-484c-a6ed-faacc4d6ea8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7.xml><?xml version="1.0" encoding="utf-8"?>
<ds:datastoreItem xmlns:ds="http://schemas.openxmlformats.org/officeDocument/2006/customXml" ds:itemID="{CC49FFC8-2FF3-4057-96F0-3BCD1A4F0351}">
  <ds:schemaRefs/>
</ds:datastoreItem>
</file>

<file path=customXml/itemProps38.xml><?xml version="1.0" encoding="utf-8"?>
<ds:datastoreItem xmlns:ds="http://schemas.openxmlformats.org/officeDocument/2006/customXml" ds:itemID="{034DD3E1-2858-4C70-BC3A-61FB10763B47}">
  <ds:schemaRefs/>
</ds:datastoreItem>
</file>

<file path=customXml/itemProps39.xml><?xml version="1.0" encoding="utf-8"?>
<ds:datastoreItem xmlns:ds="http://schemas.openxmlformats.org/officeDocument/2006/customXml" ds:itemID="{EA0EFD7B-A280-45FB-AEC3-B703B28210D9}">
  <ds:schemaRefs/>
</ds:datastoreItem>
</file>

<file path=customXml/itemProps4.xml><?xml version="1.0" encoding="utf-8"?>
<ds:datastoreItem xmlns:ds="http://schemas.openxmlformats.org/officeDocument/2006/customXml" ds:itemID="{C1482805-839B-4917-A350-F14E209159EB}">
  <ds:schemaRefs/>
</ds:datastoreItem>
</file>

<file path=customXml/itemProps40.xml><?xml version="1.0" encoding="utf-8"?>
<ds:datastoreItem xmlns:ds="http://schemas.openxmlformats.org/officeDocument/2006/customXml" ds:itemID="{538A7E94-9A75-944B-BB53-DAD192A33F0F}">
  <ds:schemaRefs/>
</ds:datastoreItem>
</file>

<file path=customXml/itemProps41.xml><?xml version="1.0" encoding="utf-8"?>
<ds:datastoreItem xmlns:ds="http://schemas.openxmlformats.org/officeDocument/2006/customXml" ds:itemID="{FB378D73-682D-4B5C-B045-A467836EDC7E}">
  <ds:schemaRefs/>
</ds:datastoreItem>
</file>

<file path=customXml/itemProps42.xml><?xml version="1.0" encoding="utf-8"?>
<ds:datastoreItem xmlns:ds="http://schemas.openxmlformats.org/officeDocument/2006/customXml" ds:itemID="{DAADC99B-5A83-456A-8BCD-707A23A28C1F}">
  <ds:schemaRefs/>
</ds:datastoreItem>
</file>

<file path=customXml/itemProps43.xml><?xml version="1.0" encoding="utf-8"?>
<ds:datastoreItem xmlns:ds="http://schemas.openxmlformats.org/officeDocument/2006/customXml" ds:itemID="{DF651907-6C10-4999-BBD5-6BFD17F65FC4}">
  <ds:schemaRefs/>
</ds:datastoreItem>
</file>

<file path=customXml/itemProps44.xml><?xml version="1.0" encoding="utf-8"?>
<ds:datastoreItem xmlns:ds="http://schemas.openxmlformats.org/officeDocument/2006/customXml" ds:itemID="{AAC26940-3727-49BE-BF62-CC423E64F2BD}">
  <ds:schemaRefs/>
</ds:datastoreItem>
</file>

<file path=customXml/itemProps45.xml><?xml version="1.0" encoding="utf-8"?>
<ds:datastoreItem xmlns:ds="http://schemas.openxmlformats.org/officeDocument/2006/customXml" ds:itemID="{626BBCBB-1894-4E66-BA48-9E91CE3ACBA0}">
  <ds:schemaRefs/>
</ds:datastoreItem>
</file>

<file path=customXml/itemProps46.xml><?xml version="1.0" encoding="utf-8"?>
<ds:datastoreItem xmlns:ds="http://schemas.openxmlformats.org/officeDocument/2006/customXml" ds:itemID="{BC5403FE-05BE-4E98-A273-D056C995E512}">
  <ds:schemaRefs/>
</ds:datastoreItem>
</file>

<file path=customXml/itemProps47.xml><?xml version="1.0" encoding="utf-8"?>
<ds:datastoreItem xmlns:ds="http://schemas.openxmlformats.org/officeDocument/2006/customXml" ds:itemID="{80CA586D-470E-4965-80EA-F4B9D379E73D}">
  <ds:schemaRefs/>
</ds:datastoreItem>
</file>

<file path=customXml/itemProps48.xml><?xml version="1.0" encoding="utf-8"?>
<ds:datastoreItem xmlns:ds="http://schemas.openxmlformats.org/officeDocument/2006/customXml" ds:itemID="{94BD63B6-D21E-46C4-815E-3B295ED02A9C}">
  <ds:schemaRefs/>
</ds:datastoreItem>
</file>

<file path=customXml/itemProps49.xml><?xml version="1.0" encoding="utf-8"?>
<ds:datastoreItem xmlns:ds="http://schemas.openxmlformats.org/officeDocument/2006/customXml" ds:itemID="{0EB72D09-D760-46C8-9C95-8879EFB64293}">
  <ds:schemaRefs/>
</ds:datastoreItem>
</file>

<file path=customXml/itemProps5.xml><?xml version="1.0" encoding="utf-8"?>
<ds:datastoreItem xmlns:ds="http://schemas.openxmlformats.org/officeDocument/2006/customXml" ds:itemID="{20AD2FA6-6913-43F7-86DE-8AF1545F9903}">
  <ds:schemaRefs/>
</ds:datastoreItem>
</file>

<file path=customXml/itemProps50.xml><?xml version="1.0" encoding="utf-8"?>
<ds:datastoreItem xmlns:ds="http://schemas.openxmlformats.org/officeDocument/2006/customXml" ds:itemID="{D6037B97-3794-423A-803A-B94879121092}">
  <ds:schemaRefs/>
</ds:datastoreItem>
</file>

<file path=customXml/itemProps51.xml><?xml version="1.0" encoding="utf-8"?>
<ds:datastoreItem xmlns:ds="http://schemas.openxmlformats.org/officeDocument/2006/customXml" ds:itemID="{118DC9FA-6E7A-134A-A4CB-DB7E25529BCD}">
  <ds:schemaRefs/>
</ds:datastoreItem>
</file>

<file path=customXml/itemProps6.xml><?xml version="1.0" encoding="utf-8"?>
<ds:datastoreItem xmlns:ds="http://schemas.openxmlformats.org/officeDocument/2006/customXml" ds:itemID="{98EE72E3-5203-4D39-A131-E9DD8A16EDC4}">
  <ds:schemaRefs/>
</ds:datastoreItem>
</file>

<file path=customXml/itemProps7.xml><?xml version="1.0" encoding="utf-8"?>
<ds:datastoreItem xmlns:ds="http://schemas.openxmlformats.org/officeDocument/2006/customXml" ds:itemID="{53C0C564-F4BC-4CB7-A46F-7534E4F7BCE1}">
  <ds:schemaRefs/>
</ds:datastoreItem>
</file>

<file path=customXml/itemProps8.xml><?xml version="1.0" encoding="utf-8"?>
<ds:datastoreItem xmlns:ds="http://schemas.openxmlformats.org/officeDocument/2006/customXml" ds:itemID="{C678E196-AE5D-4AB0-B3F0-0D6FA84851B1}">
  <ds:schemaRefs/>
</ds:datastoreItem>
</file>

<file path=customXml/itemProps9.xml><?xml version="1.0" encoding="utf-8"?>
<ds:datastoreItem xmlns:ds="http://schemas.openxmlformats.org/officeDocument/2006/customXml" ds:itemID="{63FADC4E-365B-4554-8E59-C720A861D5CA}">
  <ds:schemaRefs/>
</ds:datastoreItem>
</file>

<file path=docMetadata/LabelInfo.xml><?xml version="1.0" encoding="utf-8"?>
<clbl:labelList xmlns:clbl="http://schemas.microsoft.com/office/2020/mipLabelMetadata">
  <clbl:label id="{13dc8f2d-4ea5-4903-ba8c-0b5d92999a2e}" enabled="1" method="Privileged" siteId="{42f7676c-f455-423c-82f6-dc2d99791af7}" removed="0"/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IDM Branding Updates 2024 01 31 for IDM All as templates</Template>
  <TotalTime>0</TotalTime>
  <Words>1771</Words>
  <Application>Microsoft Macintosh PowerPoint</Application>
  <PresentationFormat>Benutzerdefiniert</PresentationFormat>
  <Paragraphs>424</Paragraphs>
  <Slides>9</Slides>
  <Notes>9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7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31" baseType="lpstr">
      <vt:lpstr>Roboto</vt:lpstr>
      <vt:lpstr>Arial Unicode MS</vt:lpstr>
      <vt:lpstr>Consolas</vt:lpstr>
      <vt:lpstr>Wingdings,Sans-Serif</vt:lpstr>
      <vt:lpstr>72</vt:lpstr>
      <vt:lpstr>Segoe UI</vt:lpstr>
      <vt:lpstr>Calibri</vt:lpstr>
      <vt:lpstr>72 Bold</vt:lpstr>
      <vt:lpstr>Wingdings</vt:lpstr>
      <vt:lpstr>72 Brand Medium</vt:lpstr>
      <vt:lpstr>Courier New</vt:lpstr>
      <vt:lpstr>Wingdings</vt:lpstr>
      <vt:lpstr>Symbol</vt:lpstr>
      <vt:lpstr>72 Brand</vt:lpstr>
      <vt:lpstr>Arial</vt:lpstr>
      <vt:lpstr>Graphik Light</vt:lpstr>
      <vt:lpstr>Arial,Sans-Serif</vt:lpstr>
      <vt:lpstr>SAP Template 2024</vt:lpstr>
      <vt:lpstr>White Template</vt:lpstr>
      <vt:lpstr>1_White Template</vt:lpstr>
      <vt:lpstr>1_SAP Template 2024</vt:lpstr>
      <vt:lpstr>think-cell Slide</vt:lpstr>
      <vt:lpstr>1. CDP Business Use Cases | Overview of scheduled Use Case Adoption per LoB</vt:lpstr>
      <vt:lpstr>1. CDP Business Use Cases | Marketing – Status &amp; Use Case Heatmap</vt:lpstr>
      <vt:lpstr>1. CDP Business Use Cases | Marketing – Status &amp; Use Case Heatmap</vt:lpstr>
      <vt:lpstr>1. CDP Business Use Cases | Sales &amp; Post Sales – Status &amp; Use Case Heatmap</vt:lpstr>
      <vt:lpstr>1. CDP Business Use Cases | Sales &amp; Post Sales – Status &amp; Use Case Heatmap</vt:lpstr>
      <vt:lpstr>1. CDP Business Use Cases | Compliance – Status &amp; Use Case Heatmap</vt:lpstr>
      <vt:lpstr>2. CDP Foundational Use Cases | Status Update (1/2)</vt:lpstr>
      <vt:lpstr>2. CDP Foundational Use Cases | Status Update (2/2)</vt:lpstr>
      <vt:lpstr>{{UseCaseOnePagerTitel1}}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Dröge, Anne</dc:creator>
  <cp:keywords>2024/16:9/white</cp:keywords>
  <dc:description/>
  <cp:lastModifiedBy>Schnepf, Patrick</cp:lastModifiedBy>
  <cp:revision>15</cp:revision>
  <dcterms:created xsi:type="dcterms:W3CDTF">2024-09-16T15:04:13Z</dcterms:created>
  <dcterms:modified xsi:type="dcterms:W3CDTF">2026-01-09T21:09:28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ECD2AF1DA3F8FF4FA6C2645C43C2AC01</vt:lpwstr>
  </property>
  <property fmtid="{D5CDD505-2E9C-101B-9397-08002B2CF9AE}" pid="4" name="TemplafyTimeStamp">
    <vt:lpwstr>2023-11-20T09:38:05</vt:lpwstr>
  </property>
  <property fmtid="{D5CDD505-2E9C-101B-9397-08002B2CF9AE}" pid="5" name="TemplafyTenantId">
    <vt:lpwstr>sap</vt:lpwstr>
  </property>
  <property fmtid="{D5CDD505-2E9C-101B-9397-08002B2CF9AE}" pid="6" name="TemplafyTemplateId">
    <vt:lpwstr>743088030174412800</vt:lpwstr>
  </property>
  <property fmtid="{D5CDD505-2E9C-101B-9397-08002B2CF9AE}" pid="7" name="TemplafyUserProfileId">
    <vt:lpwstr>637653955260011855</vt:lpwstr>
  </property>
  <property fmtid="{D5CDD505-2E9C-101B-9397-08002B2CF9AE}" pid="8" name="TemplafyLanguageCode">
    <vt:lpwstr>en-US</vt:lpwstr>
  </property>
  <property fmtid="{D5CDD505-2E9C-101B-9397-08002B2CF9AE}" pid="9" name="TemplafyFromBlank">
    <vt:bool>false</vt:bool>
  </property>
  <property fmtid="{D5CDD505-2E9C-101B-9397-08002B2CF9AE}" pid="10" name="MediaServiceImageTags">
    <vt:lpwstr/>
  </property>
  <property fmtid="{D5CDD505-2E9C-101B-9397-08002B2CF9AE}" pid="11" name="xd_ProgID">
    <vt:lpwstr/>
  </property>
  <property fmtid="{D5CDD505-2E9C-101B-9397-08002B2CF9AE}" pid="12" name="ComplianceAssetId">
    <vt:lpwstr/>
  </property>
  <property fmtid="{D5CDD505-2E9C-101B-9397-08002B2CF9AE}" pid="13" name="TemplateUrl">
    <vt:lpwstr/>
  </property>
  <property fmtid="{D5CDD505-2E9C-101B-9397-08002B2CF9AE}" pid="14" name="_ExtendedDescription">
    <vt:lpwstr/>
  </property>
  <property fmtid="{D5CDD505-2E9C-101B-9397-08002B2CF9AE}" pid="15" name="TriggerFlowInfo">
    <vt:lpwstr/>
  </property>
  <property fmtid="{D5CDD505-2E9C-101B-9397-08002B2CF9AE}" pid="16" name="xd_Signature">
    <vt:lpwstr/>
  </property>
  <property fmtid="{D5CDD505-2E9C-101B-9397-08002B2CF9AE}" pid="17" name="ClassificationContentMarkingFooterLocations">
    <vt:lpwstr>SAP Template 2024:142\White Template:8\1_White Template:8\1_SAP Template 2024:142</vt:lpwstr>
  </property>
  <property fmtid="{D5CDD505-2E9C-101B-9397-08002B2CF9AE}" pid="18" name="ClassificationContentMarkingFooterText">
    <vt:lpwstr>INTERNAL | SAP AND EXTERNAL PARTIES UNDER NDA USE ONLY</vt:lpwstr>
  </property>
</Properties>
</file>